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5"/>
  </p:notesMasterIdLst>
  <p:handoutMasterIdLst>
    <p:handoutMasterId r:id="rId26"/>
  </p:handoutMasterIdLst>
  <p:sldIdLst>
    <p:sldId id="256" r:id="rId5"/>
    <p:sldId id="2147375615" r:id="rId6"/>
    <p:sldId id="4848" r:id="rId7"/>
    <p:sldId id="2147375597" r:id="rId8"/>
    <p:sldId id="2147375600" r:id="rId9"/>
    <p:sldId id="2147375601" r:id="rId10"/>
    <p:sldId id="2147375602" r:id="rId11"/>
    <p:sldId id="2147375603" r:id="rId12"/>
    <p:sldId id="2147375604" r:id="rId13"/>
    <p:sldId id="2147375605" r:id="rId14"/>
    <p:sldId id="2147375606" r:id="rId15"/>
    <p:sldId id="2147375607" r:id="rId16"/>
    <p:sldId id="2147375608" r:id="rId17"/>
    <p:sldId id="2147375609" r:id="rId18"/>
    <p:sldId id="2147375610" r:id="rId19"/>
    <p:sldId id="2147375611" r:id="rId20"/>
    <p:sldId id="2147375612" r:id="rId21"/>
    <p:sldId id="2147375613" r:id="rId22"/>
    <p:sldId id="2147375614" r:id="rId23"/>
    <p:sldId id="1633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48D7336-AC30-4FD5-8CD3-7B5F39065E70}" v="12" dt="2024-09-06T10:01:13.08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447" autoAdjust="0"/>
  </p:normalViewPr>
  <p:slideViewPr>
    <p:cSldViewPr snapToGrid="0">
      <p:cViewPr varScale="1">
        <p:scale>
          <a:sx n="54" d="100"/>
          <a:sy n="54" d="100"/>
        </p:scale>
        <p:origin x="76" y="248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viewProps" Target="viewProps.xml"/><Relationship Id="rId35" Type="http://schemas.microsoft.com/office/2018/10/relationships/authors" Target="author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ud, Sumona SBOBNG-PTIY/DSB" userId="0ecd988d-3a14-4d79-a3c7-38829cf83294" providerId="ADAL" clId="{348D7336-AC30-4FD5-8CD3-7B5F39065E70}"/>
    <pc:docChg chg="undo custSel addSld delSld modSld">
      <pc:chgData name="Sud, Sumona SBOBNG-PTIY/DSB" userId="0ecd988d-3a14-4d79-a3c7-38829cf83294" providerId="ADAL" clId="{348D7336-AC30-4FD5-8CD3-7B5F39065E70}" dt="2024-09-06T10:02:53.608" v="573" actId="20577"/>
      <pc:docMkLst>
        <pc:docMk/>
      </pc:docMkLst>
      <pc:sldChg chg="addSp modSp mod">
        <pc:chgData name="Sud, Sumona SBOBNG-PTIY/DSB" userId="0ecd988d-3a14-4d79-a3c7-38829cf83294" providerId="ADAL" clId="{348D7336-AC30-4FD5-8CD3-7B5F39065E70}" dt="2024-09-06T03:11:43.793" v="74"/>
        <pc:sldMkLst>
          <pc:docMk/>
          <pc:sldMk cId="3267775274" sldId="256"/>
        </pc:sldMkLst>
        <pc:spChg chg="mod">
          <ac:chgData name="Sud, Sumona SBOBNG-PTIY/DSB" userId="0ecd988d-3a14-4d79-a3c7-38829cf83294" providerId="ADAL" clId="{348D7336-AC30-4FD5-8CD3-7B5F39065E70}" dt="2024-09-06T03:10:32.581" v="25" actId="404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Sud, Sumona SBOBNG-PTIY/DSB" userId="0ecd988d-3a14-4d79-a3c7-38829cf83294" providerId="ADAL" clId="{348D7336-AC30-4FD5-8CD3-7B5F39065E70}" dt="2024-09-06T03:10:42.560" v="41" actId="20577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Sud, Sumona SBOBNG-PTIY/DSB" userId="0ecd988d-3a14-4d79-a3c7-38829cf83294" providerId="ADAL" clId="{348D7336-AC30-4FD5-8CD3-7B5F39065E70}" dt="2024-09-06T03:11:32.683" v="73" actId="20577"/>
          <ac:spMkLst>
            <pc:docMk/>
            <pc:sldMk cId="3267775274" sldId="256"/>
            <ac:spMk id="13" creationId="{C48F8DD6-A1B3-8126-FAC3-218B712C7FFB}"/>
          </ac:spMkLst>
        </pc:spChg>
        <pc:picChg chg="add mod">
          <ac:chgData name="Sud, Sumona SBOBNG-PTIY/DSB" userId="0ecd988d-3a14-4d79-a3c7-38829cf83294" providerId="ADAL" clId="{348D7336-AC30-4FD5-8CD3-7B5F39065E70}" dt="2024-09-06T03:11:43.793" v="74"/>
          <ac:picMkLst>
            <pc:docMk/>
            <pc:sldMk cId="3267775274" sldId="256"/>
            <ac:picMk id="2" creationId="{B69B659C-130E-EBF9-9E91-6B54371207AC}"/>
          </ac:picMkLst>
        </pc:picChg>
      </pc:sldChg>
      <pc:sldChg chg="del">
        <pc:chgData name="Sud, Sumona SBOBNG-PTIY/DSB" userId="0ecd988d-3a14-4d79-a3c7-38829cf83294" providerId="ADAL" clId="{348D7336-AC30-4FD5-8CD3-7B5F39065E70}" dt="2024-09-06T03:11:53.064" v="76" actId="47"/>
        <pc:sldMkLst>
          <pc:docMk/>
          <pc:sldMk cId="867832184" sldId="2147375589"/>
        </pc:sldMkLst>
      </pc:sldChg>
      <pc:sldChg chg="addSp modSp mod">
        <pc:chgData name="Sud, Sumona SBOBNG-PTIY/DSB" userId="0ecd988d-3a14-4d79-a3c7-38829cf83294" providerId="ADAL" clId="{348D7336-AC30-4FD5-8CD3-7B5F39065E70}" dt="2024-09-06T03:24:39.617" v="124" actId="14100"/>
        <pc:sldMkLst>
          <pc:docMk/>
          <pc:sldMk cId="245881457" sldId="2147375597"/>
        </pc:sldMkLst>
        <pc:spChg chg="mod">
          <ac:chgData name="Sud, Sumona SBOBNG-PTIY/DSB" userId="0ecd988d-3a14-4d79-a3c7-38829cf83294" providerId="ADAL" clId="{348D7336-AC30-4FD5-8CD3-7B5F39065E70}" dt="2024-09-06T03:16:44.941" v="118" actId="20577"/>
          <ac:spMkLst>
            <pc:docMk/>
            <pc:sldMk cId="245881457" sldId="2147375597"/>
            <ac:spMk id="11" creationId="{DE9F1BE0-7910-FA1B-DCE8-56EFD1E4FC09}"/>
          </ac:spMkLst>
        </pc:spChg>
        <pc:spChg chg="mod">
          <ac:chgData name="Sud, Sumona SBOBNG-PTIY/DSB" userId="0ecd988d-3a14-4d79-a3c7-38829cf83294" providerId="ADAL" clId="{348D7336-AC30-4FD5-8CD3-7B5F39065E70}" dt="2024-09-06T03:24:33.771" v="122" actId="20577"/>
          <ac:spMkLst>
            <pc:docMk/>
            <pc:sldMk cId="245881457" sldId="2147375597"/>
            <ac:spMk id="12" creationId="{E53E5C3F-4D2B-B85F-E592-E58E032C664C}"/>
          </ac:spMkLst>
        </pc:spChg>
        <pc:picChg chg="add mod">
          <ac:chgData name="Sud, Sumona SBOBNG-PTIY/DSB" userId="0ecd988d-3a14-4d79-a3c7-38829cf83294" providerId="ADAL" clId="{348D7336-AC30-4FD5-8CD3-7B5F39065E70}" dt="2024-09-06T03:24:39.617" v="124" actId="14100"/>
          <ac:picMkLst>
            <pc:docMk/>
            <pc:sldMk cId="245881457" sldId="2147375597"/>
            <ac:picMk id="1026" creationId="{C2C8EB47-D9DC-20C0-687D-50461E9341CB}"/>
          </ac:picMkLst>
        </pc:picChg>
      </pc:sldChg>
      <pc:sldChg chg="addSp modSp mod">
        <pc:chgData name="Sud, Sumona SBOBNG-PTIY/DSB" userId="0ecd988d-3a14-4d79-a3c7-38829cf83294" providerId="ADAL" clId="{348D7336-AC30-4FD5-8CD3-7B5F39065E70}" dt="2024-09-06T03:41:13.665" v="154" actId="1036"/>
        <pc:sldMkLst>
          <pc:docMk/>
          <pc:sldMk cId="1181112711" sldId="2147375600"/>
        </pc:sldMkLst>
        <pc:spChg chg="add mod">
          <ac:chgData name="Sud, Sumona SBOBNG-PTIY/DSB" userId="0ecd988d-3a14-4d79-a3c7-38829cf83294" providerId="ADAL" clId="{348D7336-AC30-4FD5-8CD3-7B5F39065E70}" dt="2024-09-06T03:40:52.524" v="144" actId="1076"/>
          <ac:spMkLst>
            <pc:docMk/>
            <pc:sldMk cId="1181112711" sldId="2147375600"/>
            <ac:spMk id="6" creationId="{FB49AB19-4B16-1E89-33E5-88D476A91AB2}"/>
          </ac:spMkLst>
        </pc:spChg>
        <pc:spChg chg="mod">
          <ac:chgData name="Sud, Sumona SBOBNG-PTIY/DSB" userId="0ecd988d-3a14-4d79-a3c7-38829cf83294" providerId="ADAL" clId="{348D7336-AC30-4FD5-8CD3-7B5F39065E70}" dt="2024-09-06T03:37:28.800" v="141"/>
          <ac:spMkLst>
            <pc:docMk/>
            <pc:sldMk cId="1181112711" sldId="2147375600"/>
            <ac:spMk id="11" creationId="{DE9F1BE0-7910-FA1B-DCE8-56EFD1E4FC09}"/>
          </ac:spMkLst>
        </pc:spChg>
        <pc:spChg chg="mod">
          <ac:chgData name="Sud, Sumona SBOBNG-PTIY/DSB" userId="0ecd988d-3a14-4d79-a3c7-38829cf83294" providerId="ADAL" clId="{348D7336-AC30-4FD5-8CD3-7B5F39065E70}" dt="2024-09-06T03:40:55.149" v="147" actId="20577"/>
          <ac:spMkLst>
            <pc:docMk/>
            <pc:sldMk cId="1181112711" sldId="2147375600"/>
            <ac:spMk id="12" creationId="{E53E5C3F-4D2B-B85F-E592-E58E032C664C}"/>
          </ac:spMkLst>
        </pc:spChg>
        <pc:picChg chg="add mod">
          <ac:chgData name="Sud, Sumona SBOBNG-PTIY/DSB" userId="0ecd988d-3a14-4d79-a3c7-38829cf83294" providerId="ADAL" clId="{348D7336-AC30-4FD5-8CD3-7B5F39065E70}" dt="2024-09-06T03:41:13.665" v="154" actId="1036"/>
          <ac:picMkLst>
            <pc:docMk/>
            <pc:sldMk cId="1181112711" sldId="2147375600"/>
            <ac:picMk id="5" creationId="{6DB837CF-928C-76B8-E12F-A54A55E77F98}"/>
          </ac:picMkLst>
        </pc:picChg>
      </pc:sldChg>
      <pc:sldChg chg="addSp delSp modSp mod">
        <pc:chgData name="Sud, Sumona SBOBNG-PTIY/DSB" userId="0ecd988d-3a14-4d79-a3c7-38829cf83294" providerId="ADAL" clId="{348D7336-AC30-4FD5-8CD3-7B5F39065E70}" dt="2024-09-06T03:45:03.289" v="177"/>
        <pc:sldMkLst>
          <pc:docMk/>
          <pc:sldMk cId="3233747587" sldId="2147375601"/>
        </pc:sldMkLst>
        <pc:spChg chg="add del mod">
          <ac:chgData name="Sud, Sumona SBOBNG-PTIY/DSB" userId="0ecd988d-3a14-4d79-a3c7-38829cf83294" providerId="ADAL" clId="{348D7336-AC30-4FD5-8CD3-7B5F39065E70}" dt="2024-09-06T03:45:03.289" v="177"/>
          <ac:spMkLst>
            <pc:docMk/>
            <pc:sldMk cId="3233747587" sldId="2147375601"/>
            <ac:spMk id="6" creationId="{726CA5DF-2CB2-F8A7-FF65-1EABCD77FDA9}"/>
          </ac:spMkLst>
        </pc:spChg>
        <pc:spChg chg="mod">
          <ac:chgData name="Sud, Sumona SBOBNG-PTIY/DSB" userId="0ecd988d-3a14-4d79-a3c7-38829cf83294" providerId="ADAL" clId="{348D7336-AC30-4FD5-8CD3-7B5F39065E70}" dt="2024-09-06T03:43:29.292" v="167" actId="20577"/>
          <ac:spMkLst>
            <pc:docMk/>
            <pc:sldMk cId="3233747587" sldId="2147375601"/>
            <ac:spMk id="11" creationId="{DE9F1BE0-7910-FA1B-DCE8-56EFD1E4FC09}"/>
          </ac:spMkLst>
        </pc:spChg>
        <pc:spChg chg="mod">
          <ac:chgData name="Sud, Sumona SBOBNG-PTIY/DSB" userId="0ecd988d-3a14-4d79-a3c7-38829cf83294" providerId="ADAL" clId="{348D7336-AC30-4FD5-8CD3-7B5F39065E70}" dt="2024-09-06T03:44:50.142" v="169" actId="20577"/>
          <ac:spMkLst>
            <pc:docMk/>
            <pc:sldMk cId="3233747587" sldId="2147375601"/>
            <ac:spMk id="12" creationId="{E53E5C3F-4D2B-B85F-E592-E58E032C664C}"/>
          </ac:spMkLst>
        </pc:spChg>
        <pc:picChg chg="add mod">
          <ac:chgData name="Sud, Sumona SBOBNG-PTIY/DSB" userId="0ecd988d-3a14-4d79-a3c7-38829cf83294" providerId="ADAL" clId="{348D7336-AC30-4FD5-8CD3-7B5F39065E70}" dt="2024-09-06T03:45:01.687" v="175" actId="14100"/>
          <ac:picMkLst>
            <pc:docMk/>
            <pc:sldMk cId="3233747587" sldId="2147375601"/>
            <ac:picMk id="5" creationId="{AD2CBE56-BD20-44A2-5CA2-F7AD0D311548}"/>
          </ac:picMkLst>
        </pc:picChg>
      </pc:sldChg>
      <pc:sldChg chg="addSp delSp modSp mod">
        <pc:chgData name="Sud, Sumona SBOBNG-PTIY/DSB" userId="0ecd988d-3a14-4d79-a3c7-38829cf83294" providerId="ADAL" clId="{348D7336-AC30-4FD5-8CD3-7B5F39065E70}" dt="2024-09-06T09:38:34.907" v="203" actId="14100"/>
        <pc:sldMkLst>
          <pc:docMk/>
          <pc:sldMk cId="3971512377" sldId="2147375603"/>
        </pc:sldMkLst>
        <pc:spChg chg="mod">
          <ac:chgData name="Sud, Sumona SBOBNG-PTIY/DSB" userId="0ecd988d-3a14-4d79-a3c7-38829cf83294" providerId="ADAL" clId="{348D7336-AC30-4FD5-8CD3-7B5F39065E70}" dt="2024-09-06T09:38:21.271" v="192" actId="1076"/>
          <ac:spMkLst>
            <pc:docMk/>
            <pc:sldMk cId="3971512377" sldId="2147375603"/>
            <ac:spMk id="3" creationId="{CEA128C4-A0BC-A895-713C-306E7FF62894}"/>
          </ac:spMkLst>
        </pc:spChg>
        <pc:spChg chg="add del mod">
          <ac:chgData name="Sud, Sumona SBOBNG-PTIY/DSB" userId="0ecd988d-3a14-4d79-a3c7-38829cf83294" providerId="ADAL" clId="{348D7336-AC30-4FD5-8CD3-7B5F39065E70}" dt="2024-09-06T09:38:24.626" v="198" actId="478"/>
          <ac:spMkLst>
            <pc:docMk/>
            <pc:sldMk cId="3971512377" sldId="2147375603"/>
            <ac:spMk id="8" creationId="{F1EF4265-2EB7-480D-91D8-31163D50FE79}"/>
          </ac:spMkLst>
        </pc:spChg>
        <pc:spChg chg="mod">
          <ac:chgData name="Sud, Sumona SBOBNG-PTIY/DSB" userId="0ecd988d-3a14-4d79-a3c7-38829cf83294" providerId="ADAL" clId="{348D7336-AC30-4FD5-8CD3-7B5F39065E70}" dt="2024-09-06T09:23:27.262" v="181" actId="20577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Sud, Sumona SBOBNG-PTIY/DSB" userId="0ecd988d-3a14-4d79-a3c7-38829cf83294" providerId="ADAL" clId="{348D7336-AC30-4FD5-8CD3-7B5F39065E70}" dt="2024-09-06T09:38:29.525" v="201" actId="20577"/>
          <ac:spMkLst>
            <pc:docMk/>
            <pc:sldMk cId="3971512377" sldId="2147375603"/>
            <ac:spMk id="12" creationId="{E53E5C3F-4D2B-B85F-E592-E58E032C664C}"/>
          </ac:spMkLst>
        </pc:spChg>
        <pc:spChg chg="add mod">
          <ac:chgData name="Sud, Sumona SBOBNG-PTIY/DSB" userId="0ecd988d-3a14-4d79-a3c7-38829cf83294" providerId="ADAL" clId="{348D7336-AC30-4FD5-8CD3-7B5F39065E70}" dt="2024-09-06T09:38:18.993" v="190" actId="1076"/>
          <ac:spMkLst>
            <pc:docMk/>
            <pc:sldMk cId="3971512377" sldId="2147375603"/>
            <ac:spMk id="14" creationId="{BEEEA6D4-6DF5-78F4-B120-26FD9DF92C89}"/>
          </ac:spMkLst>
        </pc:spChg>
        <pc:picChg chg="add del mod">
          <ac:chgData name="Sud, Sumona SBOBNG-PTIY/DSB" userId="0ecd988d-3a14-4d79-a3c7-38829cf83294" providerId="ADAL" clId="{348D7336-AC30-4FD5-8CD3-7B5F39065E70}" dt="2024-09-06T09:38:24.626" v="198" actId="478"/>
          <ac:picMkLst>
            <pc:docMk/>
            <pc:sldMk cId="3971512377" sldId="2147375603"/>
            <ac:picMk id="6" creationId="{0684BE80-0F63-1091-0379-9FB759AA1E8D}"/>
          </ac:picMkLst>
        </pc:picChg>
        <pc:picChg chg="add mod">
          <ac:chgData name="Sud, Sumona SBOBNG-PTIY/DSB" userId="0ecd988d-3a14-4d79-a3c7-38829cf83294" providerId="ADAL" clId="{348D7336-AC30-4FD5-8CD3-7B5F39065E70}" dt="2024-09-06T09:38:34.907" v="203" actId="14100"/>
          <ac:picMkLst>
            <pc:docMk/>
            <pc:sldMk cId="3971512377" sldId="2147375603"/>
            <ac:picMk id="13" creationId="{56FEE309-5982-FAAD-A476-CC74359B11B0}"/>
          </ac:picMkLst>
        </pc:picChg>
      </pc:sldChg>
      <pc:sldChg chg="addSp modSp mod">
        <pc:chgData name="Sud, Sumona SBOBNG-PTIY/DSB" userId="0ecd988d-3a14-4d79-a3c7-38829cf83294" providerId="ADAL" clId="{348D7336-AC30-4FD5-8CD3-7B5F39065E70}" dt="2024-09-06T09:56:45.304" v="216" actId="20577"/>
        <pc:sldMkLst>
          <pc:docMk/>
          <pc:sldMk cId="3179805674" sldId="2147375604"/>
        </pc:sldMkLst>
        <pc:spChg chg="add mod">
          <ac:chgData name="Sud, Sumona SBOBNG-PTIY/DSB" userId="0ecd988d-3a14-4d79-a3c7-38829cf83294" providerId="ADAL" clId="{348D7336-AC30-4FD5-8CD3-7B5F39065E70}" dt="2024-09-06T09:41:46.122" v="205" actId="14100"/>
          <ac:spMkLst>
            <pc:docMk/>
            <pc:sldMk cId="3179805674" sldId="2147375604"/>
            <ac:spMk id="8" creationId="{61A849C8-DBDA-1C8D-66E9-8BFEBAA16997}"/>
          </ac:spMkLst>
        </pc:spChg>
        <pc:spChg chg="mod">
          <ac:chgData name="Sud, Sumona SBOBNG-PTIY/DSB" userId="0ecd988d-3a14-4d79-a3c7-38829cf83294" providerId="ADAL" clId="{348D7336-AC30-4FD5-8CD3-7B5F39065E70}" dt="2024-09-06T09:56:45.304" v="216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Sud, Sumona SBOBNG-PTIY/DSB" userId="0ecd988d-3a14-4d79-a3c7-38829cf83294" providerId="ADAL" clId="{348D7336-AC30-4FD5-8CD3-7B5F39065E70}" dt="2024-09-06T09:41:47.757" v="206" actId="20577"/>
          <ac:spMkLst>
            <pc:docMk/>
            <pc:sldMk cId="3179805674" sldId="2147375604"/>
            <ac:spMk id="12" creationId="{E53E5C3F-4D2B-B85F-E592-E58E032C664C}"/>
          </ac:spMkLst>
        </pc:spChg>
        <pc:picChg chg="add mod">
          <ac:chgData name="Sud, Sumona SBOBNG-PTIY/DSB" userId="0ecd988d-3a14-4d79-a3c7-38829cf83294" providerId="ADAL" clId="{348D7336-AC30-4FD5-8CD3-7B5F39065E70}" dt="2024-09-06T09:42:04.801" v="215" actId="14100"/>
          <ac:picMkLst>
            <pc:docMk/>
            <pc:sldMk cId="3179805674" sldId="2147375604"/>
            <ac:picMk id="6" creationId="{5A4BDFA7-8A44-0F9C-FDE4-5DF708BFB58A}"/>
          </ac:picMkLst>
        </pc:picChg>
      </pc:sldChg>
      <pc:sldChg chg="addSp modSp mod">
        <pc:chgData name="Sud, Sumona SBOBNG-PTIY/DSB" userId="0ecd988d-3a14-4d79-a3c7-38829cf83294" providerId="ADAL" clId="{348D7336-AC30-4FD5-8CD3-7B5F39065E70}" dt="2024-09-06T09:57:30.431" v="224" actId="14100"/>
        <pc:sldMkLst>
          <pc:docMk/>
          <pc:sldMk cId="86366928" sldId="2147375605"/>
        </pc:sldMkLst>
        <pc:spChg chg="add mod">
          <ac:chgData name="Sud, Sumona SBOBNG-PTIY/DSB" userId="0ecd988d-3a14-4d79-a3c7-38829cf83294" providerId="ADAL" clId="{348D7336-AC30-4FD5-8CD3-7B5F39065E70}" dt="2024-09-06T09:57:16.903" v="217" actId="931"/>
          <ac:spMkLst>
            <pc:docMk/>
            <pc:sldMk cId="86366928" sldId="2147375605"/>
            <ac:spMk id="8" creationId="{3C39E5F6-BBD1-83BB-6058-EB01FD7443C1}"/>
          </ac:spMkLst>
        </pc:spChg>
        <pc:spChg chg="mod">
          <ac:chgData name="Sud, Sumona SBOBNG-PTIY/DSB" userId="0ecd988d-3a14-4d79-a3c7-38829cf83294" providerId="ADAL" clId="{348D7336-AC30-4FD5-8CD3-7B5F39065E70}" dt="2024-09-06T09:25:26.224" v="188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Sud, Sumona SBOBNG-PTIY/DSB" userId="0ecd988d-3a14-4d79-a3c7-38829cf83294" providerId="ADAL" clId="{348D7336-AC30-4FD5-8CD3-7B5F39065E70}" dt="2024-09-06T09:57:19.970" v="218" actId="20577"/>
          <ac:spMkLst>
            <pc:docMk/>
            <pc:sldMk cId="86366928" sldId="2147375605"/>
            <ac:spMk id="12" creationId="{E53E5C3F-4D2B-B85F-E592-E58E032C664C}"/>
          </ac:spMkLst>
        </pc:spChg>
        <pc:picChg chg="add mod">
          <ac:chgData name="Sud, Sumona SBOBNG-PTIY/DSB" userId="0ecd988d-3a14-4d79-a3c7-38829cf83294" providerId="ADAL" clId="{348D7336-AC30-4FD5-8CD3-7B5F39065E70}" dt="2024-09-06T09:57:30.431" v="224" actId="14100"/>
          <ac:picMkLst>
            <pc:docMk/>
            <pc:sldMk cId="86366928" sldId="2147375605"/>
            <ac:picMk id="6" creationId="{551B4876-AF9B-C5C3-7D0E-22FDD7F1535B}"/>
          </ac:picMkLst>
        </pc:picChg>
      </pc:sldChg>
      <pc:sldChg chg="addSp modSp mod">
        <pc:chgData name="Sud, Sumona SBOBNG-PTIY/DSB" userId="0ecd988d-3a14-4d79-a3c7-38829cf83294" providerId="ADAL" clId="{348D7336-AC30-4FD5-8CD3-7B5F39065E70}" dt="2024-09-06T09:59:12.911" v="326" actId="20577"/>
        <pc:sldMkLst>
          <pc:docMk/>
          <pc:sldMk cId="2340944189" sldId="2147375607"/>
        </pc:sldMkLst>
        <pc:spChg chg="mod">
          <ac:chgData name="Sud, Sumona SBOBNG-PTIY/DSB" userId="0ecd988d-3a14-4d79-a3c7-38829cf83294" providerId="ADAL" clId="{348D7336-AC30-4FD5-8CD3-7B5F39065E70}" dt="2024-09-06T09:59:12.911" v="326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Sud, Sumona SBOBNG-PTIY/DSB" userId="0ecd988d-3a14-4d79-a3c7-38829cf83294" providerId="ADAL" clId="{348D7336-AC30-4FD5-8CD3-7B5F39065E70}" dt="2024-09-06T09:58:02.804" v="225" actId="20577"/>
          <ac:spMkLst>
            <pc:docMk/>
            <pc:sldMk cId="2340944189" sldId="2147375607"/>
            <ac:spMk id="12" creationId="{E53E5C3F-4D2B-B85F-E592-E58E032C664C}"/>
          </ac:spMkLst>
        </pc:spChg>
        <pc:picChg chg="add mod">
          <ac:chgData name="Sud, Sumona SBOBNG-PTIY/DSB" userId="0ecd988d-3a14-4d79-a3c7-38829cf83294" providerId="ADAL" clId="{348D7336-AC30-4FD5-8CD3-7B5F39065E70}" dt="2024-09-06T09:58:22.921" v="228" actId="1076"/>
          <ac:picMkLst>
            <pc:docMk/>
            <pc:sldMk cId="2340944189" sldId="2147375607"/>
            <ac:picMk id="6" creationId="{924CE583-A04E-59DE-FAE1-2852AF629009}"/>
          </ac:picMkLst>
        </pc:picChg>
      </pc:sldChg>
      <pc:sldChg chg="addSp modSp mod">
        <pc:chgData name="Sud, Sumona SBOBNG-PTIY/DSB" userId="0ecd988d-3a14-4d79-a3c7-38829cf83294" providerId="ADAL" clId="{348D7336-AC30-4FD5-8CD3-7B5F39065E70}" dt="2024-09-06T10:00:07.466" v="376" actId="1076"/>
        <pc:sldMkLst>
          <pc:docMk/>
          <pc:sldMk cId="3159148252" sldId="2147375608"/>
        </pc:sldMkLst>
        <pc:spChg chg="mod">
          <ac:chgData name="Sud, Sumona SBOBNG-PTIY/DSB" userId="0ecd988d-3a14-4d79-a3c7-38829cf83294" providerId="ADAL" clId="{348D7336-AC30-4FD5-8CD3-7B5F39065E70}" dt="2024-09-06T09:59:56.890" v="371" actId="1076"/>
          <ac:spMkLst>
            <pc:docMk/>
            <pc:sldMk cId="3159148252" sldId="2147375608"/>
            <ac:spMk id="3" creationId="{CEA128C4-A0BC-A895-713C-306E7FF62894}"/>
          </ac:spMkLst>
        </pc:spChg>
        <pc:spChg chg="mod">
          <ac:chgData name="Sud, Sumona SBOBNG-PTIY/DSB" userId="0ecd988d-3a14-4d79-a3c7-38829cf83294" providerId="ADAL" clId="{348D7336-AC30-4FD5-8CD3-7B5F39065E70}" dt="2024-09-06T09:59:44.012" v="368"/>
          <ac:spMkLst>
            <pc:docMk/>
            <pc:sldMk cId="3159148252" sldId="2147375608"/>
            <ac:spMk id="11" creationId="{DE9F1BE0-7910-FA1B-DCE8-56EFD1E4FC09}"/>
          </ac:spMkLst>
        </pc:spChg>
        <pc:spChg chg="mod">
          <ac:chgData name="Sud, Sumona SBOBNG-PTIY/DSB" userId="0ecd988d-3a14-4d79-a3c7-38829cf83294" providerId="ADAL" clId="{348D7336-AC30-4FD5-8CD3-7B5F39065E70}" dt="2024-09-06T09:59:47.436" v="370" actId="20577"/>
          <ac:spMkLst>
            <pc:docMk/>
            <pc:sldMk cId="3159148252" sldId="2147375608"/>
            <ac:spMk id="12" creationId="{E53E5C3F-4D2B-B85F-E592-E58E032C664C}"/>
          </ac:spMkLst>
        </pc:spChg>
        <pc:picChg chg="add mod">
          <ac:chgData name="Sud, Sumona SBOBNG-PTIY/DSB" userId="0ecd988d-3a14-4d79-a3c7-38829cf83294" providerId="ADAL" clId="{348D7336-AC30-4FD5-8CD3-7B5F39065E70}" dt="2024-09-06T10:00:07.466" v="376" actId="1076"/>
          <ac:picMkLst>
            <pc:docMk/>
            <pc:sldMk cId="3159148252" sldId="2147375608"/>
            <ac:picMk id="6" creationId="{B6547772-AED9-3F96-CD3B-5B863168E3D0}"/>
          </ac:picMkLst>
        </pc:picChg>
      </pc:sldChg>
      <pc:sldChg chg="addSp modSp mod">
        <pc:chgData name="Sud, Sumona SBOBNG-PTIY/DSB" userId="0ecd988d-3a14-4d79-a3c7-38829cf83294" providerId="ADAL" clId="{348D7336-AC30-4FD5-8CD3-7B5F39065E70}" dt="2024-09-06T10:01:27.803" v="433" actId="14100"/>
        <pc:sldMkLst>
          <pc:docMk/>
          <pc:sldMk cId="3070204084" sldId="2147375609"/>
        </pc:sldMkLst>
        <pc:spChg chg="mod">
          <ac:chgData name="Sud, Sumona SBOBNG-PTIY/DSB" userId="0ecd988d-3a14-4d79-a3c7-38829cf83294" providerId="ADAL" clId="{348D7336-AC30-4FD5-8CD3-7B5F39065E70}" dt="2024-09-06T10:00:26.032" v="426" actId="20577"/>
          <ac:spMkLst>
            <pc:docMk/>
            <pc:sldMk cId="3070204084" sldId="2147375609"/>
            <ac:spMk id="11" creationId="{DE9F1BE0-7910-FA1B-DCE8-56EFD1E4FC09}"/>
          </ac:spMkLst>
        </pc:spChg>
        <pc:spChg chg="mod">
          <ac:chgData name="Sud, Sumona SBOBNG-PTIY/DSB" userId="0ecd988d-3a14-4d79-a3c7-38829cf83294" providerId="ADAL" clId="{348D7336-AC30-4FD5-8CD3-7B5F39065E70}" dt="2024-09-06T10:01:16.728" v="429" actId="20577"/>
          <ac:spMkLst>
            <pc:docMk/>
            <pc:sldMk cId="3070204084" sldId="2147375609"/>
            <ac:spMk id="12" creationId="{E53E5C3F-4D2B-B85F-E592-E58E032C664C}"/>
          </ac:spMkLst>
        </pc:spChg>
        <pc:picChg chg="add mod">
          <ac:chgData name="Sud, Sumona SBOBNG-PTIY/DSB" userId="0ecd988d-3a14-4d79-a3c7-38829cf83294" providerId="ADAL" clId="{348D7336-AC30-4FD5-8CD3-7B5F39065E70}" dt="2024-09-06T10:01:27.803" v="433" actId="14100"/>
          <ac:picMkLst>
            <pc:docMk/>
            <pc:sldMk cId="3070204084" sldId="2147375609"/>
            <ac:picMk id="5" creationId="{3E72A322-179D-1030-670F-AD5C39CCE78F}"/>
          </ac:picMkLst>
        </pc:picChg>
      </pc:sldChg>
      <pc:sldChg chg="addSp modSp mod">
        <pc:chgData name="Sud, Sumona SBOBNG-PTIY/DSB" userId="0ecd988d-3a14-4d79-a3c7-38829cf83294" providerId="ADAL" clId="{348D7336-AC30-4FD5-8CD3-7B5F39065E70}" dt="2024-09-06T10:02:15.628" v="508" actId="1076"/>
        <pc:sldMkLst>
          <pc:docMk/>
          <pc:sldMk cId="1148838763" sldId="2147375613"/>
        </pc:sldMkLst>
        <pc:spChg chg="mod">
          <ac:chgData name="Sud, Sumona SBOBNG-PTIY/DSB" userId="0ecd988d-3a14-4d79-a3c7-38829cf83294" providerId="ADAL" clId="{348D7336-AC30-4FD5-8CD3-7B5F39065E70}" dt="2024-09-06T10:01:54.563" v="502" actId="20577"/>
          <ac:spMkLst>
            <pc:docMk/>
            <pc:sldMk cId="1148838763" sldId="2147375613"/>
            <ac:spMk id="11" creationId="{8CC1343B-2E39-FEFF-8FF6-46822F18B432}"/>
          </ac:spMkLst>
        </pc:spChg>
        <pc:spChg chg="mod">
          <ac:chgData name="Sud, Sumona SBOBNG-PTIY/DSB" userId="0ecd988d-3a14-4d79-a3c7-38829cf83294" providerId="ADAL" clId="{348D7336-AC30-4FD5-8CD3-7B5F39065E70}" dt="2024-09-06T10:02:09.518" v="504" actId="20577"/>
          <ac:spMkLst>
            <pc:docMk/>
            <pc:sldMk cId="1148838763" sldId="2147375613"/>
            <ac:spMk id="12" creationId="{5A873A1A-E63F-91AE-7D43-ED0F86870147}"/>
          </ac:spMkLst>
        </pc:spChg>
        <pc:picChg chg="add mod">
          <ac:chgData name="Sud, Sumona SBOBNG-PTIY/DSB" userId="0ecd988d-3a14-4d79-a3c7-38829cf83294" providerId="ADAL" clId="{348D7336-AC30-4FD5-8CD3-7B5F39065E70}" dt="2024-09-06T10:02:15.628" v="508" actId="1076"/>
          <ac:picMkLst>
            <pc:docMk/>
            <pc:sldMk cId="1148838763" sldId="2147375613"/>
            <ac:picMk id="6" creationId="{31580071-5413-CF62-BE96-BE3AA92EE926}"/>
          </ac:picMkLst>
        </pc:picChg>
      </pc:sldChg>
      <pc:sldChg chg="modSp mod">
        <pc:chgData name="Sud, Sumona SBOBNG-PTIY/DSB" userId="0ecd988d-3a14-4d79-a3c7-38829cf83294" providerId="ADAL" clId="{348D7336-AC30-4FD5-8CD3-7B5F39065E70}" dt="2024-09-06T10:02:53.608" v="573" actId="20577"/>
        <pc:sldMkLst>
          <pc:docMk/>
          <pc:sldMk cId="3865850111" sldId="2147375614"/>
        </pc:sldMkLst>
        <pc:spChg chg="mod">
          <ac:chgData name="Sud, Sumona SBOBNG-PTIY/DSB" userId="0ecd988d-3a14-4d79-a3c7-38829cf83294" providerId="ADAL" clId="{348D7336-AC30-4FD5-8CD3-7B5F39065E70}" dt="2024-09-06T10:02:53.608" v="573" actId="20577"/>
          <ac:spMkLst>
            <pc:docMk/>
            <pc:sldMk cId="3865850111" sldId="2147375614"/>
            <ac:spMk id="6" creationId="{AC2F88D2-81D4-FAD4-568E-A3F495B06411}"/>
          </ac:spMkLst>
        </pc:spChg>
      </pc:sldChg>
      <pc:sldChg chg="add">
        <pc:chgData name="Sud, Sumona SBOBNG-PTIY/DSB" userId="0ecd988d-3a14-4d79-a3c7-38829cf83294" providerId="ADAL" clId="{348D7336-AC30-4FD5-8CD3-7B5F39065E70}" dt="2024-09-06T03:11:51.478" v="75"/>
        <pc:sldMkLst>
          <pc:docMk/>
          <pc:sldMk cId="929712738" sldId="2147375615"/>
        </pc:sldMkLst>
      </pc:sldChg>
    </pc:docChg>
  </pc:docChgLst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6/09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sir.chamallow.com/archives/551" TargetMode="External"/><Relationship Id="rId3" Type="http://schemas.openxmlformats.org/officeDocument/2006/relationships/oleObject" Target="../embeddings/oleObject8.bin"/><Relationship Id="rId7" Type="http://schemas.openxmlformats.org/officeDocument/2006/relationships/image" Target="../media/image33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2.emf"/><Relationship Id="rId9" Type="http://schemas.openxmlformats.org/officeDocument/2006/relationships/hyperlink" Target="https://creativecommons.org/licenses/by/3.0/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oleObject" Target="../embeddings/oleObject9.bin"/><Relationship Id="rId7" Type="http://schemas.openxmlformats.org/officeDocument/2006/relationships/image" Target="../media/image35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34.png"/><Relationship Id="rId5" Type="http://schemas.openxmlformats.org/officeDocument/2006/relationships/hyperlink" Target="https://dev.azure.com/shuser84/OrangeHRM_Claim/_boards/board/t/OrangeHRM_Claim%20Team/Stories" TargetMode="External"/><Relationship Id="rId4" Type="http://schemas.openxmlformats.org/officeDocument/2006/relationships/image" Target="../media/image22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4" Type="http://schemas.openxmlformats.org/officeDocument/2006/relationships/image" Target="../media/image22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3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4" Type="http://schemas.openxmlformats.org/officeDocument/2006/relationships/image" Target="../media/image22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40.svg"/><Relationship Id="rId5" Type="http://schemas.openxmlformats.org/officeDocument/2006/relationships/image" Target="../media/image39.png"/><Relationship Id="rId4" Type="http://schemas.openxmlformats.org/officeDocument/2006/relationships/image" Target="../media/image22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4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42.svg"/><Relationship Id="rId5" Type="http://schemas.openxmlformats.org/officeDocument/2006/relationships/image" Target="../media/image41.png"/><Relationship Id="rId4" Type="http://schemas.openxmlformats.org/officeDocument/2006/relationships/image" Target="../media/image22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45.svg"/><Relationship Id="rId5" Type="http://schemas.openxmlformats.org/officeDocument/2006/relationships/image" Target="../media/image44.png"/><Relationship Id="rId4" Type="http://schemas.openxmlformats.org/officeDocument/2006/relationships/image" Target="../media/image22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hyperlink" Target="https://desarrollohumanoempresarialc.wordpress.com/2019/06/26/servicios-compartidos-empresas-afiliados/" TargetMode="External"/><Relationship Id="rId5" Type="http://schemas.openxmlformats.org/officeDocument/2006/relationships/image" Target="../media/image23.gif"/><Relationship Id="rId4" Type="http://schemas.openxmlformats.org/officeDocument/2006/relationships/image" Target="../media/image22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2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suportinf.net/index.php" TargetMode="External"/><Relationship Id="rId3" Type="http://schemas.openxmlformats.org/officeDocument/2006/relationships/oleObject" Target="../embeddings/oleObject4.bin"/><Relationship Id="rId7" Type="http://schemas.openxmlformats.org/officeDocument/2006/relationships/image" Target="../media/image27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2.emf"/><Relationship Id="rId9" Type="http://schemas.openxmlformats.org/officeDocument/2006/relationships/hyperlink" Target="https://creativecommons.org/licenses/by/3.0/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saranslive.blogspot.com/2009/10/broadcast-radio-online.html" TargetMode="External"/><Relationship Id="rId3" Type="http://schemas.openxmlformats.org/officeDocument/2006/relationships/oleObject" Target="../embeddings/oleObject5.bin"/><Relationship Id="rId7" Type="http://schemas.openxmlformats.org/officeDocument/2006/relationships/image" Target="../media/image28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2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ct101.commons.gc.cuny.edu/final-blogpost-2/" TargetMode="External"/><Relationship Id="rId3" Type="http://schemas.openxmlformats.org/officeDocument/2006/relationships/oleObject" Target="../embeddings/oleObject6.bin"/><Relationship Id="rId7" Type="http://schemas.openxmlformats.org/officeDocument/2006/relationships/image" Target="../media/image31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2.emf"/><Relationship Id="rId9" Type="http://schemas.openxmlformats.org/officeDocument/2006/relationships/hyperlink" Target="https://creativecommons.org/licenses/by-nc-sa/3.0/" TargetMode="Externa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reflectionsofthevoid.com/2020/04/links-of-day-14042020-time-series.html" TargetMode="External"/><Relationship Id="rId3" Type="http://schemas.openxmlformats.org/officeDocument/2006/relationships/oleObject" Target="../embeddings/oleObject7.bin"/><Relationship Id="rId7" Type="http://schemas.openxmlformats.org/officeDocument/2006/relationships/image" Target="../media/image32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2.emf"/><Relationship Id="rId9" Type="http://schemas.openxmlformats.org/officeDocument/2006/relationships/hyperlink" Target="https://creativecommons.org/licenses/by-sa/3.0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3003335"/>
            <a:ext cx="10525125" cy="1200329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</a:t>
            </a:r>
            <a:br>
              <a:rPr lang="en-US" sz="4000" dirty="0"/>
            </a:br>
            <a:r>
              <a:rPr lang="en-US" sz="4000" dirty="0"/>
              <a:t>3 Reflections for Week 2 </a:t>
            </a:r>
            <a:r>
              <a:rPr lang="en-US" sz="2000" dirty="0"/>
              <a:t>[2/9/24 -6/9/24]</a:t>
            </a:r>
            <a:endParaRPr lang="en-US" sz="40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Sumona Sud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6-September-2024</a:t>
            </a:r>
          </a:p>
        </p:txBody>
      </p:sp>
      <p:pic>
        <p:nvPicPr>
          <p:cNvPr id="2" name="Picture 1" descr="A person with long hair smiling&#10;&#10;Description automatically generated">
            <a:extLst>
              <a:ext uri="{FF2B5EF4-FFF2-40B4-BE49-F238E27FC236}">
                <a16:creationId xmlns:a16="http://schemas.microsoft.com/office/drawing/2014/main" id="{B69B659C-130E-EBF9-9E91-6B54371207A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069" b="23677"/>
          <a:stretch/>
        </p:blipFill>
        <p:spPr>
          <a:xfrm>
            <a:off x="9150505" y="325119"/>
            <a:ext cx="2741058" cy="2489201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3446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GB" sz="2000" dirty="0"/>
          </a:p>
          <a:p>
            <a:pPr marL="0" indent="0">
              <a:buNone/>
            </a:pPr>
            <a:r>
              <a:rPr lang="en-GB" sz="2000" dirty="0"/>
              <a:t>Cloud Basics: Shell effectively understands the core concepts of cloud computing, including IaaS, PaaS, and SaaS.</a:t>
            </a:r>
          </a:p>
          <a:p>
            <a:pPr marL="0" indent="0">
              <a:buNone/>
            </a:pPr>
            <a:r>
              <a:rPr lang="en-GB" sz="2000" dirty="0"/>
              <a:t>Scalability and Flexibility: Cloud computing provides Shell with scalable and flexible resources for efficient management and deployment of virtual machines (VMs).</a:t>
            </a:r>
          </a:p>
          <a:p>
            <a:pPr marL="0" indent="0">
              <a:buNone/>
            </a:pPr>
            <a:r>
              <a:rPr lang="en-GB" sz="2000" dirty="0"/>
              <a:t>Energy Management: By creating VMs in the cloud, Shell supports energy management applications, enabling scalable data processing and real-time analytics.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]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6" name="Picture 5" descr="A cloud with pictures falling down&#10;&#10;Description automatically generated">
            <a:extLst>
              <a:ext uri="{FF2B5EF4-FFF2-40B4-BE49-F238E27FC236}">
                <a16:creationId xmlns:a16="http://schemas.microsoft.com/office/drawing/2014/main" id="{551B4876-AF9B-C5C3-7D0E-22FDD7F1535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6654566" y="2038072"/>
            <a:ext cx="4922448" cy="357697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C39E5F6-BBD1-83BB-6058-EB01FD7443C1}"/>
              </a:ext>
            </a:extLst>
          </p:cNvPr>
          <p:cNvSpPr txBox="1"/>
          <p:nvPr/>
        </p:nvSpPr>
        <p:spPr>
          <a:xfrm>
            <a:off x="3238500" y="5505450"/>
            <a:ext cx="5715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>
                <a:hlinkClick r:id="rId8" tooltip="https://sir.chamallow.com/archives/551"/>
              </a:rPr>
              <a:t>This Photo</a:t>
            </a:r>
            <a:r>
              <a:rPr lang="en-GB" sz="900"/>
              <a:t> by Unknown Author is licensed under </a:t>
            </a:r>
            <a:r>
              <a:rPr lang="en-GB" sz="900">
                <a:hlinkClick r:id="rId9" tooltip="https://creativecommons.org/licenses/by/3.0/"/>
              </a:rPr>
              <a:t>CC BY</a:t>
            </a:r>
            <a:endParaRPr lang="en-GB" sz="900"/>
          </a:p>
        </p:txBody>
      </p:sp>
    </p:spTree>
    <p:extLst>
      <p:ext uri="{BB962C8B-B14F-4D97-AF65-F5344CB8AC3E}">
        <p14:creationId xmlns:p14="http://schemas.microsoft.com/office/powerpoint/2010/main" val="863669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Challenges in implementing learning</a:t>
            </a:r>
            <a:endParaRPr lang="en-IN" sz="4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F2FEB897-CC3D-F8EF-554F-5F21937369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6726" y="286622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170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07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1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Implementing the </a:t>
            </a:r>
            <a:r>
              <a:rPr lang="en-US" sz="2000" dirty="0" err="1"/>
              <a:t>devops</a:t>
            </a:r>
            <a:r>
              <a:rPr lang="en-US" sz="2000" dirty="0"/>
              <a:t> on Azure with all the user stories was challenging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GB" sz="2400" dirty="0" err="1">
                <a:hlinkClick r:id="rId5"/>
              </a:rPr>
              <a:t>OrangeHRM_Claim</a:t>
            </a:r>
            <a:r>
              <a:rPr lang="en-GB" sz="2400" dirty="0">
                <a:hlinkClick r:id="rId5"/>
              </a:rPr>
              <a:t> Team Stories Board - Boards (azure.com)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24CE583-A04E-59DE-FAE1-2852AF62900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27864" y="2184613"/>
            <a:ext cx="4696575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9441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647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1227" y="443076"/>
            <a:ext cx="11260278" cy="713216"/>
          </a:xfrm>
        </p:spPr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2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3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CI/CD on </a:t>
            </a:r>
            <a:r>
              <a:rPr lang="en-US" sz="2000" dirty="0" err="1"/>
              <a:t>github</a:t>
            </a:r>
            <a:r>
              <a:rPr lang="en-US" sz="2000" dirty="0"/>
              <a:t> actions was challenging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https://github.com/Sumo01/CalculatorCICD_CaseStudy.git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6547772-AED9-3F96-CD3B-5B863168E3D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63671" y="2054845"/>
            <a:ext cx="5024962" cy="3688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1482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66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3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Learning </a:t>
            </a:r>
            <a:r>
              <a:rPr lang="en-US" sz="2000" dirty="0" err="1"/>
              <a:t>postgres</a:t>
            </a:r>
            <a:r>
              <a:rPr lang="en-US" sz="2000" dirty="0"/>
              <a:t> and joins was challenging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E72A322-179D-1030-670F-AD5C39CCE78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31429" y="2017712"/>
            <a:ext cx="5029674" cy="3623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2040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Action Plan</a:t>
            </a:r>
            <a:endParaRPr lang="en-IN" sz="4000" dirty="0"/>
          </a:p>
        </p:txBody>
      </p:sp>
      <p:pic>
        <p:nvPicPr>
          <p:cNvPr id="4" name="Graphic 3" descr="Steps icon">
            <a:extLst>
              <a:ext uri="{FF2B5EF4-FFF2-40B4-BE49-F238E27FC236}">
                <a16:creationId xmlns:a16="http://schemas.microsoft.com/office/drawing/2014/main" id="{B5F8A401-110E-E4BD-2FD5-DBD699116C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2471" y="2893076"/>
            <a:ext cx="1049813" cy="10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4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6799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My Action Plan for this Week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6</a:t>
            </a:fld>
            <a:endParaRPr lang="en-IN" dirty="0"/>
          </a:p>
        </p:txBody>
      </p:sp>
      <p:pic>
        <p:nvPicPr>
          <p:cNvPr id="5" name="Graphic 4" descr="Steps icon">
            <a:extLst>
              <a:ext uri="{FF2B5EF4-FFF2-40B4-BE49-F238E27FC236}">
                <a16:creationId xmlns:a16="http://schemas.microsoft.com/office/drawing/2014/main" id="{B5EEB56D-B388-3B36-90D7-E1D1797C4F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01613" y="206613"/>
            <a:ext cx="1049813" cy="1049813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6C73795A-BE20-7075-E9C6-6F145CE60794}"/>
              </a:ext>
            </a:extLst>
          </p:cNvPr>
          <p:cNvSpPr txBox="1">
            <a:spLocks/>
          </p:cNvSpPr>
          <p:nvPr/>
        </p:nvSpPr>
        <p:spPr>
          <a:xfrm>
            <a:off x="825971" y="1963738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tails of actions planned for the new lrearning or overcoming the challenge</a:t>
            </a: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9" name="Text Placeholder 32">
            <a:extLst>
              <a:ext uri="{FF2B5EF4-FFF2-40B4-BE49-F238E27FC236}">
                <a16:creationId xmlns:a16="http://schemas.microsoft.com/office/drawing/2014/main" id="{A3E2F4D1-4417-E244-3DB9-A6FF5866A342}"/>
              </a:ext>
            </a:extLst>
          </p:cNvPr>
          <p:cNvSpPr txBox="1">
            <a:spLocks/>
          </p:cNvSpPr>
          <p:nvPr/>
        </p:nvSpPr>
        <p:spPr>
          <a:xfrm>
            <a:off x="4104451" y="1950811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e planned timeline to implement the actions</a:t>
            </a: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3EBEB0AC-D407-44FD-A74F-90F67F3D13C3}"/>
              </a:ext>
            </a:extLst>
          </p:cNvPr>
          <p:cNvSpPr txBox="1">
            <a:spLocks/>
          </p:cNvSpPr>
          <p:nvPr/>
        </p:nvSpPr>
        <p:spPr>
          <a:xfrm>
            <a:off x="7379732" y="1945213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atus of the same by the end of the week</a:t>
            </a: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F8FD767-7EE2-8BA3-9320-45A7293391FF}"/>
              </a:ext>
            </a:extLst>
          </p:cNvPr>
          <p:cNvSpPr/>
          <p:nvPr/>
        </p:nvSpPr>
        <p:spPr>
          <a:xfrm>
            <a:off x="82597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Ac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289516E-B769-4A13-DD90-39AC62DED9BD}"/>
              </a:ext>
            </a:extLst>
          </p:cNvPr>
          <p:cNvSpPr/>
          <p:nvPr/>
        </p:nvSpPr>
        <p:spPr>
          <a:xfrm>
            <a:off x="410445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Timeli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61DDA7-0DFB-87EE-DF38-AA6219713C1B}"/>
              </a:ext>
            </a:extLst>
          </p:cNvPr>
          <p:cNvSpPr/>
          <p:nvPr/>
        </p:nvSpPr>
        <p:spPr>
          <a:xfrm>
            <a:off x="7379732" y="125064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Status</a:t>
            </a:r>
          </a:p>
        </p:txBody>
      </p:sp>
      <p:grpSp>
        <p:nvGrpSpPr>
          <p:cNvPr id="24" name="Group 23" descr="thumbs up icon">
            <a:extLst>
              <a:ext uri="{FF2B5EF4-FFF2-40B4-BE49-F238E27FC236}">
                <a16:creationId xmlns:a16="http://schemas.microsoft.com/office/drawing/2014/main" id="{DCA04876-65F9-DDA2-9E8E-9D570857B2A5}"/>
              </a:ext>
            </a:extLst>
          </p:cNvPr>
          <p:cNvGrpSpPr/>
          <p:nvPr/>
        </p:nvGrpSpPr>
        <p:grpSpPr>
          <a:xfrm>
            <a:off x="10965805" y="2219370"/>
            <a:ext cx="823913" cy="823913"/>
            <a:chOff x="744537" y="2086166"/>
            <a:chExt cx="823913" cy="823913"/>
          </a:xfrm>
          <a:solidFill>
            <a:schemeClr val="bg1"/>
          </a:solidFill>
        </p:grpSpPr>
        <p:sp>
          <p:nvSpPr>
            <p:cNvPr id="25" name="Oval 68">
              <a:extLst>
                <a:ext uri="{FF2B5EF4-FFF2-40B4-BE49-F238E27FC236}">
                  <a16:creationId xmlns:a16="http://schemas.microsoft.com/office/drawing/2014/main" id="{3A38CCAC-78C9-81D4-1E36-CB51C7166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2086166"/>
              <a:ext cx="823913" cy="8239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571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6" name="Freeform 65">
              <a:extLst>
                <a:ext uri="{FF2B5EF4-FFF2-40B4-BE49-F238E27FC236}">
                  <a16:creationId xmlns:a16="http://schemas.microsoft.com/office/drawing/2014/main" id="{E083201A-5603-E7AE-C4E0-0A003C89B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536" y="2278488"/>
              <a:ext cx="358468" cy="351052"/>
            </a:xfrm>
            <a:custGeom>
              <a:avLst/>
              <a:gdLst>
                <a:gd name="T0" fmla="*/ 358468 w 188"/>
                <a:gd name="T1" fmla="*/ 181250 h 184"/>
                <a:gd name="T2" fmla="*/ 257411 w 188"/>
                <a:gd name="T3" fmla="*/ 135460 h 184"/>
                <a:gd name="T4" fmla="*/ 257411 w 188"/>
                <a:gd name="T5" fmla="*/ 125921 h 184"/>
                <a:gd name="T6" fmla="*/ 286012 w 188"/>
                <a:gd name="T7" fmla="*/ 70592 h 184"/>
                <a:gd name="T8" fmla="*/ 263131 w 188"/>
                <a:gd name="T9" fmla="*/ 5724 h 184"/>
                <a:gd name="T10" fmla="*/ 226903 w 188"/>
                <a:gd name="T11" fmla="*/ 34342 h 184"/>
                <a:gd name="T12" fmla="*/ 179234 w 188"/>
                <a:gd name="T13" fmla="*/ 104934 h 184"/>
                <a:gd name="T14" fmla="*/ 133472 w 188"/>
                <a:gd name="T15" fmla="*/ 175526 h 184"/>
                <a:gd name="T16" fmla="*/ 97244 w 188"/>
                <a:gd name="T17" fmla="*/ 160263 h 184"/>
                <a:gd name="T18" fmla="*/ 0 w 188"/>
                <a:gd name="T19" fmla="*/ 177434 h 184"/>
                <a:gd name="T20" fmla="*/ 17161 w 188"/>
                <a:gd name="T21" fmla="*/ 351052 h 184"/>
                <a:gd name="T22" fmla="*/ 114405 w 188"/>
                <a:gd name="T23" fmla="*/ 337697 h 184"/>
                <a:gd name="T24" fmla="*/ 139192 w 188"/>
                <a:gd name="T25" fmla="*/ 351052 h 184"/>
                <a:gd name="T26" fmla="*/ 143006 w 188"/>
                <a:gd name="T27" fmla="*/ 351052 h 184"/>
                <a:gd name="T28" fmla="*/ 299359 w 188"/>
                <a:gd name="T29" fmla="*/ 351052 h 184"/>
                <a:gd name="T30" fmla="*/ 333680 w 188"/>
                <a:gd name="T31" fmla="*/ 307171 h 184"/>
                <a:gd name="T32" fmla="*/ 343214 w 188"/>
                <a:gd name="T33" fmla="*/ 257565 h 184"/>
                <a:gd name="T34" fmla="*/ 348934 w 188"/>
                <a:gd name="T35" fmla="*/ 206052 h 184"/>
                <a:gd name="T36" fmla="*/ 97244 w 188"/>
                <a:gd name="T37" fmla="*/ 335789 h 184"/>
                <a:gd name="T38" fmla="*/ 15254 w 188"/>
                <a:gd name="T39" fmla="*/ 333881 h 184"/>
                <a:gd name="T40" fmla="*/ 17161 w 188"/>
                <a:gd name="T41" fmla="*/ 175526 h 184"/>
                <a:gd name="T42" fmla="*/ 99151 w 188"/>
                <a:gd name="T43" fmla="*/ 177434 h 184"/>
                <a:gd name="T44" fmla="*/ 335587 w 188"/>
                <a:gd name="T45" fmla="*/ 198421 h 184"/>
                <a:gd name="T46" fmla="*/ 333680 w 188"/>
                <a:gd name="T47" fmla="*/ 209868 h 184"/>
                <a:gd name="T48" fmla="*/ 329867 w 188"/>
                <a:gd name="T49" fmla="*/ 249934 h 184"/>
                <a:gd name="T50" fmla="*/ 327960 w 188"/>
                <a:gd name="T51" fmla="*/ 261381 h 184"/>
                <a:gd name="T52" fmla="*/ 320333 w 188"/>
                <a:gd name="T53" fmla="*/ 297631 h 184"/>
                <a:gd name="T54" fmla="*/ 318426 w 188"/>
                <a:gd name="T55" fmla="*/ 307171 h 184"/>
                <a:gd name="T56" fmla="*/ 299359 w 188"/>
                <a:gd name="T57" fmla="*/ 335789 h 184"/>
                <a:gd name="T58" fmla="*/ 133472 w 188"/>
                <a:gd name="T59" fmla="*/ 330065 h 184"/>
                <a:gd name="T60" fmla="*/ 114405 w 188"/>
                <a:gd name="T61" fmla="*/ 190789 h 184"/>
                <a:gd name="T62" fmla="*/ 137286 w 188"/>
                <a:gd name="T63" fmla="*/ 190789 h 184"/>
                <a:gd name="T64" fmla="*/ 169700 w 188"/>
                <a:gd name="T65" fmla="*/ 152631 h 184"/>
                <a:gd name="T66" fmla="*/ 192581 w 188"/>
                <a:gd name="T67" fmla="*/ 112566 h 184"/>
                <a:gd name="T68" fmla="*/ 247877 w 188"/>
                <a:gd name="T69" fmla="*/ 19079 h 184"/>
                <a:gd name="T70" fmla="*/ 272664 w 188"/>
                <a:gd name="T71" fmla="*/ 66776 h 184"/>
                <a:gd name="T72" fmla="*/ 244063 w 188"/>
                <a:gd name="T73" fmla="*/ 145000 h 184"/>
                <a:gd name="T74" fmla="*/ 308893 w 188"/>
                <a:gd name="T75" fmla="*/ 150723 h 184"/>
                <a:gd name="T76" fmla="*/ 335587 w 188"/>
                <a:gd name="T77" fmla="*/ 198421 h 1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88" h="184">
                  <a:moveTo>
                    <a:pt x="183" y="108"/>
                  </a:moveTo>
                  <a:cubicBezTo>
                    <a:pt x="185" y="105"/>
                    <a:pt x="188" y="101"/>
                    <a:pt x="188" y="95"/>
                  </a:cubicBezTo>
                  <a:cubicBezTo>
                    <a:pt x="188" y="78"/>
                    <a:pt x="172" y="72"/>
                    <a:pt x="163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3" y="69"/>
                    <a:pt x="135" y="66"/>
                    <a:pt x="135" y="66"/>
                  </a:cubicBezTo>
                  <a:cubicBezTo>
                    <a:pt x="135" y="66"/>
                    <a:pt x="135" y="66"/>
                    <a:pt x="135" y="66"/>
                  </a:cubicBezTo>
                  <a:cubicBezTo>
                    <a:pt x="136" y="66"/>
                    <a:pt x="144" y="55"/>
                    <a:pt x="150" y="37"/>
                  </a:cubicBezTo>
                  <a:cubicBezTo>
                    <a:pt x="157" y="18"/>
                    <a:pt x="140" y="4"/>
                    <a:pt x="139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8" y="3"/>
                    <a:pt x="132" y="0"/>
                    <a:pt x="126" y="4"/>
                  </a:cubicBezTo>
                  <a:cubicBezTo>
                    <a:pt x="122" y="6"/>
                    <a:pt x="119" y="11"/>
                    <a:pt x="119" y="18"/>
                  </a:cubicBezTo>
                  <a:cubicBezTo>
                    <a:pt x="117" y="34"/>
                    <a:pt x="103" y="48"/>
                    <a:pt x="97" y="53"/>
                  </a:cubicBezTo>
                  <a:cubicBezTo>
                    <a:pt x="96" y="54"/>
                    <a:pt x="95" y="54"/>
                    <a:pt x="94" y="55"/>
                  </a:cubicBezTo>
                  <a:cubicBezTo>
                    <a:pt x="90" y="59"/>
                    <a:pt x="85" y="69"/>
                    <a:pt x="82" y="76"/>
                  </a:cubicBezTo>
                  <a:cubicBezTo>
                    <a:pt x="79" y="81"/>
                    <a:pt x="73" y="89"/>
                    <a:pt x="70" y="92"/>
                  </a:cubicBezTo>
                  <a:cubicBezTo>
                    <a:pt x="67" y="92"/>
                    <a:pt x="63" y="92"/>
                    <a:pt x="60" y="92"/>
                  </a:cubicBezTo>
                  <a:cubicBezTo>
                    <a:pt x="59" y="88"/>
                    <a:pt x="55" y="84"/>
                    <a:pt x="5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0"/>
                    <a:pt x="4" y="184"/>
                    <a:pt x="9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6" y="184"/>
                    <a:pt x="59" y="181"/>
                    <a:pt x="60" y="177"/>
                  </a:cubicBezTo>
                  <a:cubicBezTo>
                    <a:pt x="62" y="177"/>
                    <a:pt x="63" y="175"/>
                    <a:pt x="64" y="175"/>
                  </a:cubicBezTo>
                  <a:cubicBezTo>
                    <a:pt x="65" y="177"/>
                    <a:pt x="67" y="181"/>
                    <a:pt x="73" y="184"/>
                  </a:cubicBezTo>
                  <a:cubicBezTo>
                    <a:pt x="74" y="184"/>
                    <a:pt x="74" y="184"/>
                    <a:pt x="74" y="184"/>
                  </a:cubicBezTo>
                  <a:cubicBezTo>
                    <a:pt x="75" y="184"/>
                    <a:pt x="75" y="184"/>
                    <a:pt x="75" y="184"/>
                  </a:cubicBezTo>
                  <a:cubicBezTo>
                    <a:pt x="75" y="184"/>
                    <a:pt x="103" y="184"/>
                    <a:pt x="129" y="184"/>
                  </a:cubicBezTo>
                  <a:cubicBezTo>
                    <a:pt x="142" y="184"/>
                    <a:pt x="153" y="184"/>
                    <a:pt x="157" y="184"/>
                  </a:cubicBezTo>
                  <a:cubicBezTo>
                    <a:pt x="165" y="184"/>
                    <a:pt x="170" y="180"/>
                    <a:pt x="172" y="177"/>
                  </a:cubicBezTo>
                  <a:cubicBezTo>
                    <a:pt x="176" y="172"/>
                    <a:pt x="176" y="165"/>
                    <a:pt x="175" y="161"/>
                  </a:cubicBezTo>
                  <a:cubicBezTo>
                    <a:pt x="181" y="156"/>
                    <a:pt x="181" y="147"/>
                    <a:pt x="181" y="143"/>
                  </a:cubicBezTo>
                  <a:cubicBezTo>
                    <a:pt x="182" y="140"/>
                    <a:pt x="181" y="138"/>
                    <a:pt x="180" y="135"/>
                  </a:cubicBezTo>
                  <a:cubicBezTo>
                    <a:pt x="183" y="133"/>
                    <a:pt x="186" y="127"/>
                    <a:pt x="186" y="120"/>
                  </a:cubicBezTo>
                  <a:cubicBezTo>
                    <a:pt x="187" y="115"/>
                    <a:pt x="185" y="110"/>
                    <a:pt x="183" y="108"/>
                  </a:cubicBezTo>
                  <a:close/>
                  <a:moveTo>
                    <a:pt x="52" y="175"/>
                  </a:moveTo>
                  <a:cubicBezTo>
                    <a:pt x="52" y="176"/>
                    <a:pt x="52" y="176"/>
                    <a:pt x="51" y="176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6"/>
                    <a:pt x="8" y="176"/>
                    <a:pt x="8" y="175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9" y="92"/>
                    <a:pt x="9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2" y="92"/>
                    <a:pt x="52" y="93"/>
                    <a:pt x="52" y="93"/>
                  </a:cubicBezTo>
                  <a:lnTo>
                    <a:pt x="52" y="175"/>
                  </a:lnTo>
                  <a:close/>
                  <a:moveTo>
                    <a:pt x="176" y="104"/>
                  </a:moveTo>
                  <a:cubicBezTo>
                    <a:pt x="172" y="107"/>
                    <a:pt x="172" y="107"/>
                    <a:pt x="172" y="107"/>
                  </a:cubicBezTo>
                  <a:cubicBezTo>
                    <a:pt x="175" y="110"/>
                    <a:pt x="175" y="110"/>
                    <a:pt x="175" y="110"/>
                  </a:cubicBezTo>
                  <a:cubicBezTo>
                    <a:pt x="176" y="111"/>
                    <a:pt x="179" y="114"/>
                    <a:pt x="178" y="120"/>
                  </a:cubicBezTo>
                  <a:cubicBezTo>
                    <a:pt x="178" y="127"/>
                    <a:pt x="173" y="131"/>
                    <a:pt x="173" y="131"/>
                  </a:cubicBezTo>
                  <a:cubicBezTo>
                    <a:pt x="167" y="133"/>
                    <a:pt x="167" y="133"/>
                    <a:pt x="167" y="133"/>
                  </a:cubicBezTo>
                  <a:cubicBezTo>
                    <a:pt x="172" y="137"/>
                    <a:pt x="172" y="137"/>
                    <a:pt x="172" y="137"/>
                  </a:cubicBezTo>
                  <a:cubicBezTo>
                    <a:pt x="172" y="138"/>
                    <a:pt x="174" y="140"/>
                    <a:pt x="173" y="144"/>
                  </a:cubicBezTo>
                  <a:cubicBezTo>
                    <a:pt x="173" y="147"/>
                    <a:pt x="172" y="154"/>
                    <a:pt x="168" y="156"/>
                  </a:cubicBezTo>
                  <a:cubicBezTo>
                    <a:pt x="164" y="158"/>
                    <a:pt x="164" y="158"/>
                    <a:pt x="164" y="158"/>
                  </a:cubicBezTo>
                  <a:cubicBezTo>
                    <a:pt x="167" y="161"/>
                    <a:pt x="167" y="161"/>
                    <a:pt x="167" y="161"/>
                  </a:cubicBezTo>
                  <a:cubicBezTo>
                    <a:pt x="168" y="163"/>
                    <a:pt x="168" y="169"/>
                    <a:pt x="165" y="173"/>
                  </a:cubicBezTo>
                  <a:cubicBezTo>
                    <a:pt x="164" y="175"/>
                    <a:pt x="161" y="176"/>
                    <a:pt x="157" y="176"/>
                  </a:cubicBezTo>
                  <a:cubicBezTo>
                    <a:pt x="144" y="176"/>
                    <a:pt x="84" y="176"/>
                    <a:pt x="76" y="176"/>
                  </a:cubicBezTo>
                  <a:cubicBezTo>
                    <a:pt x="73" y="175"/>
                    <a:pt x="71" y="174"/>
                    <a:pt x="70" y="173"/>
                  </a:cubicBezTo>
                  <a:cubicBezTo>
                    <a:pt x="69" y="172"/>
                    <a:pt x="67" y="167"/>
                    <a:pt x="60" y="167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4" y="100"/>
                    <a:pt x="71" y="100"/>
                    <a:pt x="71" y="100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9"/>
                    <a:pt x="85" y="88"/>
                    <a:pt x="89" y="80"/>
                  </a:cubicBezTo>
                  <a:cubicBezTo>
                    <a:pt x="93" y="72"/>
                    <a:pt x="96" y="63"/>
                    <a:pt x="100" y="61"/>
                  </a:cubicBezTo>
                  <a:cubicBezTo>
                    <a:pt x="100" y="60"/>
                    <a:pt x="101" y="60"/>
                    <a:pt x="101" y="59"/>
                  </a:cubicBezTo>
                  <a:cubicBezTo>
                    <a:pt x="108" y="54"/>
                    <a:pt x="124" y="38"/>
                    <a:pt x="127" y="19"/>
                  </a:cubicBezTo>
                  <a:cubicBezTo>
                    <a:pt x="127" y="14"/>
                    <a:pt x="128" y="12"/>
                    <a:pt x="130" y="10"/>
                  </a:cubicBezTo>
                  <a:cubicBezTo>
                    <a:pt x="132" y="9"/>
                    <a:pt x="134" y="10"/>
                    <a:pt x="135" y="10"/>
                  </a:cubicBezTo>
                  <a:cubicBezTo>
                    <a:pt x="137" y="12"/>
                    <a:pt x="147" y="22"/>
                    <a:pt x="143" y="35"/>
                  </a:cubicBezTo>
                  <a:cubicBezTo>
                    <a:pt x="137" y="51"/>
                    <a:pt x="129" y="61"/>
                    <a:pt x="129" y="61"/>
                  </a:cubicBezTo>
                  <a:cubicBezTo>
                    <a:pt x="127" y="64"/>
                    <a:pt x="124" y="70"/>
                    <a:pt x="128" y="76"/>
                  </a:cubicBezTo>
                  <a:cubicBezTo>
                    <a:pt x="130" y="79"/>
                    <a:pt x="133" y="79"/>
                    <a:pt x="135" y="79"/>
                  </a:cubicBezTo>
                  <a:cubicBezTo>
                    <a:pt x="162" y="79"/>
                    <a:pt x="162" y="79"/>
                    <a:pt x="162" y="79"/>
                  </a:cubicBezTo>
                  <a:cubicBezTo>
                    <a:pt x="163" y="79"/>
                    <a:pt x="180" y="81"/>
                    <a:pt x="180" y="95"/>
                  </a:cubicBezTo>
                  <a:cubicBezTo>
                    <a:pt x="180" y="101"/>
                    <a:pt x="176" y="104"/>
                    <a:pt x="176" y="10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27" name="Group 26" descr="clock icon">
            <a:extLst>
              <a:ext uri="{FF2B5EF4-FFF2-40B4-BE49-F238E27FC236}">
                <a16:creationId xmlns:a16="http://schemas.microsoft.com/office/drawing/2014/main" id="{B808CBE1-9B84-7818-F1B7-F6B6847390C9}"/>
              </a:ext>
            </a:extLst>
          </p:cNvPr>
          <p:cNvGrpSpPr/>
          <p:nvPr/>
        </p:nvGrpSpPr>
        <p:grpSpPr>
          <a:xfrm>
            <a:off x="10965805" y="3169273"/>
            <a:ext cx="823913" cy="823912"/>
            <a:chOff x="744537" y="3036069"/>
            <a:chExt cx="823913" cy="823912"/>
          </a:xfrm>
          <a:solidFill>
            <a:schemeClr val="bg1"/>
          </a:solidFill>
        </p:grpSpPr>
        <p:sp>
          <p:nvSpPr>
            <p:cNvPr id="28" name="Oval 68">
              <a:extLst>
                <a:ext uri="{FF2B5EF4-FFF2-40B4-BE49-F238E27FC236}">
                  <a16:creationId xmlns:a16="http://schemas.microsoft.com/office/drawing/2014/main" id="{0D5B9A7E-609B-61CB-6B76-65F108A044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036069"/>
              <a:ext cx="823913" cy="823912"/>
            </a:xfrm>
            <a:prstGeom prst="ellipse">
              <a:avLst/>
            </a:prstGeom>
            <a:grpFill/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grpSp>
          <p:nvGrpSpPr>
            <p:cNvPr id="29" name="Group 28" descr="Clock">
              <a:extLst>
                <a:ext uri="{FF2B5EF4-FFF2-40B4-BE49-F238E27FC236}">
                  <a16:creationId xmlns:a16="http://schemas.microsoft.com/office/drawing/2014/main" id="{1C95187E-2D4F-6A0D-B336-8B096F1468D7}"/>
                </a:ext>
              </a:extLst>
            </p:cNvPr>
            <p:cNvGrpSpPr/>
            <p:nvPr/>
          </p:nvGrpSpPr>
          <p:grpSpPr bwMode="auto">
            <a:xfrm>
              <a:off x="982527" y="3270522"/>
              <a:ext cx="343634" cy="344872"/>
              <a:chOff x="9155465" y="4372601"/>
              <a:chExt cx="343634" cy="344872"/>
            </a:xfrm>
            <a:grpFill/>
          </p:grpSpPr>
          <p:sp>
            <p:nvSpPr>
              <p:cNvPr id="30" name="Freeform 158">
                <a:extLst>
                  <a:ext uri="{FF2B5EF4-FFF2-40B4-BE49-F238E27FC236}">
                    <a16:creationId xmlns:a16="http://schemas.microsoft.com/office/drawing/2014/main" id="{6A73770E-F6A1-75D7-11EF-CB4EC6F3B3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79198" y="4372601"/>
                <a:ext cx="119901" cy="101360"/>
              </a:xfrm>
              <a:custGeom>
                <a:avLst/>
                <a:gdLst>
                  <a:gd name="T0" fmla="*/ 50 w 63"/>
                  <a:gd name="T1" fmla="*/ 53 h 53"/>
                  <a:gd name="T2" fmla="*/ 47 w 63"/>
                  <a:gd name="T3" fmla="*/ 49 h 53"/>
                  <a:gd name="T4" fmla="*/ 4 w 63"/>
                  <a:gd name="T5" fmla="*/ 15 h 53"/>
                  <a:gd name="T6" fmla="*/ 0 w 63"/>
                  <a:gd name="T7" fmla="*/ 14 h 53"/>
                  <a:gd name="T8" fmla="*/ 2 w 63"/>
                  <a:gd name="T9" fmla="*/ 10 h 53"/>
                  <a:gd name="T10" fmla="*/ 19 w 63"/>
                  <a:gd name="T11" fmla="*/ 0 h 53"/>
                  <a:gd name="T12" fmla="*/ 42 w 63"/>
                  <a:gd name="T13" fmla="*/ 11 h 53"/>
                  <a:gd name="T14" fmla="*/ 52 w 63"/>
                  <a:gd name="T15" fmla="*/ 50 h 53"/>
                  <a:gd name="T16" fmla="*/ 50 w 63"/>
                  <a:gd name="T17" fmla="*/ 53 h 53"/>
                  <a:gd name="T18" fmla="*/ 10 w 63"/>
                  <a:gd name="T19" fmla="*/ 11 h 53"/>
                  <a:gd name="T20" fmla="*/ 50 w 63"/>
                  <a:gd name="T21" fmla="*/ 42 h 53"/>
                  <a:gd name="T22" fmla="*/ 39 w 63"/>
                  <a:gd name="T23" fmla="*/ 16 h 53"/>
                  <a:gd name="T24" fmla="*/ 19 w 63"/>
                  <a:gd name="T25" fmla="*/ 6 h 53"/>
                  <a:gd name="T26" fmla="*/ 10 w 63"/>
                  <a:gd name="T27" fmla="*/ 1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50" y="53"/>
                    </a:moveTo>
                    <a:cubicBezTo>
                      <a:pt x="47" y="49"/>
                      <a:pt x="47" y="49"/>
                      <a:pt x="47" y="49"/>
                    </a:cubicBezTo>
                    <a:cubicBezTo>
                      <a:pt x="37" y="33"/>
                      <a:pt x="22" y="21"/>
                      <a:pt x="4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6" y="5"/>
                      <a:pt x="11" y="0"/>
                      <a:pt x="19" y="0"/>
                    </a:cubicBezTo>
                    <a:cubicBezTo>
                      <a:pt x="26" y="0"/>
                      <a:pt x="33" y="4"/>
                      <a:pt x="42" y="11"/>
                    </a:cubicBezTo>
                    <a:cubicBezTo>
                      <a:pt x="63" y="27"/>
                      <a:pt x="61" y="38"/>
                      <a:pt x="52" y="50"/>
                    </a:cubicBezTo>
                    <a:lnTo>
                      <a:pt x="50" y="53"/>
                    </a:lnTo>
                    <a:close/>
                    <a:moveTo>
                      <a:pt x="10" y="11"/>
                    </a:moveTo>
                    <a:cubicBezTo>
                      <a:pt x="26" y="17"/>
                      <a:pt x="40" y="28"/>
                      <a:pt x="50" y="42"/>
                    </a:cubicBezTo>
                    <a:cubicBezTo>
                      <a:pt x="54" y="36"/>
                      <a:pt x="55" y="29"/>
                      <a:pt x="39" y="16"/>
                    </a:cubicBezTo>
                    <a:cubicBezTo>
                      <a:pt x="30" y="9"/>
                      <a:pt x="24" y="6"/>
                      <a:pt x="19" y="6"/>
                    </a:cubicBezTo>
                    <a:cubicBezTo>
                      <a:pt x="16" y="6"/>
                      <a:pt x="13" y="8"/>
                      <a:pt x="10" y="11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1" name="Freeform 159">
                <a:extLst>
                  <a:ext uri="{FF2B5EF4-FFF2-40B4-BE49-F238E27FC236}">
                    <a16:creationId xmlns:a16="http://schemas.microsoft.com/office/drawing/2014/main" id="{3529665D-D778-71CC-E4C5-628FF60324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5465" y="4372601"/>
                <a:ext cx="119901" cy="101360"/>
              </a:xfrm>
              <a:custGeom>
                <a:avLst/>
                <a:gdLst>
                  <a:gd name="T0" fmla="*/ 13 w 63"/>
                  <a:gd name="T1" fmla="*/ 53 h 53"/>
                  <a:gd name="T2" fmla="*/ 10 w 63"/>
                  <a:gd name="T3" fmla="*/ 50 h 53"/>
                  <a:gd name="T4" fmla="*/ 20 w 63"/>
                  <a:gd name="T5" fmla="*/ 11 h 53"/>
                  <a:gd name="T6" fmla="*/ 44 w 63"/>
                  <a:gd name="T7" fmla="*/ 0 h 53"/>
                  <a:gd name="T8" fmla="*/ 60 w 63"/>
                  <a:gd name="T9" fmla="*/ 10 h 53"/>
                  <a:gd name="T10" fmla="*/ 63 w 63"/>
                  <a:gd name="T11" fmla="*/ 14 h 53"/>
                  <a:gd name="T12" fmla="*/ 59 w 63"/>
                  <a:gd name="T13" fmla="*/ 15 h 53"/>
                  <a:gd name="T14" fmla="*/ 15 w 63"/>
                  <a:gd name="T15" fmla="*/ 49 h 53"/>
                  <a:gd name="T16" fmla="*/ 13 w 63"/>
                  <a:gd name="T17" fmla="*/ 53 h 53"/>
                  <a:gd name="T18" fmla="*/ 44 w 63"/>
                  <a:gd name="T19" fmla="*/ 6 h 53"/>
                  <a:gd name="T20" fmla="*/ 24 w 63"/>
                  <a:gd name="T21" fmla="*/ 16 h 53"/>
                  <a:gd name="T22" fmla="*/ 13 w 63"/>
                  <a:gd name="T23" fmla="*/ 42 h 53"/>
                  <a:gd name="T24" fmla="*/ 53 w 63"/>
                  <a:gd name="T25" fmla="*/ 11 h 53"/>
                  <a:gd name="T26" fmla="*/ 44 w 63"/>
                  <a:gd name="T27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13" y="53"/>
                    </a:moveTo>
                    <a:cubicBezTo>
                      <a:pt x="10" y="50"/>
                      <a:pt x="10" y="50"/>
                      <a:pt x="10" y="50"/>
                    </a:cubicBezTo>
                    <a:cubicBezTo>
                      <a:pt x="2" y="38"/>
                      <a:pt x="0" y="27"/>
                      <a:pt x="20" y="11"/>
                    </a:cubicBezTo>
                    <a:cubicBezTo>
                      <a:pt x="30" y="4"/>
                      <a:pt x="37" y="0"/>
                      <a:pt x="44" y="0"/>
                    </a:cubicBezTo>
                    <a:cubicBezTo>
                      <a:pt x="51" y="0"/>
                      <a:pt x="56" y="5"/>
                      <a:pt x="60" y="10"/>
                    </a:cubicBezTo>
                    <a:cubicBezTo>
                      <a:pt x="63" y="14"/>
                      <a:pt x="63" y="14"/>
                      <a:pt x="63" y="14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41" y="21"/>
                      <a:pt x="26" y="33"/>
                      <a:pt x="15" y="49"/>
                    </a:cubicBezTo>
                    <a:lnTo>
                      <a:pt x="13" y="53"/>
                    </a:lnTo>
                    <a:close/>
                    <a:moveTo>
                      <a:pt x="44" y="6"/>
                    </a:moveTo>
                    <a:cubicBezTo>
                      <a:pt x="39" y="6"/>
                      <a:pt x="32" y="9"/>
                      <a:pt x="24" y="16"/>
                    </a:cubicBezTo>
                    <a:cubicBezTo>
                      <a:pt x="8" y="29"/>
                      <a:pt x="9" y="36"/>
                      <a:pt x="13" y="42"/>
                    </a:cubicBezTo>
                    <a:cubicBezTo>
                      <a:pt x="23" y="28"/>
                      <a:pt x="37" y="17"/>
                      <a:pt x="53" y="11"/>
                    </a:cubicBezTo>
                    <a:cubicBezTo>
                      <a:pt x="50" y="8"/>
                      <a:pt x="47" y="6"/>
                      <a:pt x="4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2" name="Freeform 160">
                <a:extLst>
                  <a:ext uri="{FF2B5EF4-FFF2-40B4-BE49-F238E27FC236}">
                    <a16:creationId xmlns:a16="http://schemas.microsoft.com/office/drawing/2014/main" id="{1D07999A-0B9E-EABC-79E7-1E3F332E33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96256" y="4671737"/>
                <a:ext cx="43263" cy="44500"/>
              </a:xfrm>
              <a:custGeom>
                <a:avLst/>
                <a:gdLst>
                  <a:gd name="T0" fmla="*/ 6 w 35"/>
                  <a:gd name="T1" fmla="*/ 36 h 36"/>
                  <a:gd name="T2" fmla="*/ 0 w 35"/>
                  <a:gd name="T3" fmla="*/ 30 h 36"/>
                  <a:gd name="T4" fmla="*/ 29 w 35"/>
                  <a:gd name="T5" fmla="*/ 0 h 36"/>
                  <a:gd name="T6" fmla="*/ 35 w 35"/>
                  <a:gd name="T7" fmla="*/ 8 h 36"/>
                  <a:gd name="T8" fmla="*/ 6 w 35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6" y="36"/>
                    </a:moveTo>
                    <a:lnTo>
                      <a:pt x="0" y="30"/>
                    </a:lnTo>
                    <a:lnTo>
                      <a:pt x="29" y="0"/>
                    </a:lnTo>
                    <a:lnTo>
                      <a:pt x="35" y="8"/>
                    </a:lnTo>
                    <a:lnTo>
                      <a:pt x="6" y="36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3" name="Freeform 161">
                <a:extLst>
                  <a:ext uri="{FF2B5EF4-FFF2-40B4-BE49-F238E27FC236}">
                    <a16:creationId xmlns:a16="http://schemas.microsoft.com/office/drawing/2014/main" id="{417F16D0-0B89-5C5D-14AF-5F751A829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3809" y="4671737"/>
                <a:ext cx="45736" cy="45736"/>
              </a:xfrm>
              <a:custGeom>
                <a:avLst/>
                <a:gdLst>
                  <a:gd name="T0" fmla="*/ 29 w 37"/>
                  <a:gd name="T1" fmla="*/ 37 h 37"/>
                  <a:gd name="T2" fmla="*/ 0 w 37"/>
                  <a:gd name="T3" fmla="*/ 8 h 37"/>
                  <a:gd name="T4" fmla="*/ 6 w 37"/>
                  <a:gd name="T5" fmla="*/ 0 h 37"/>
                  <a:gd name="T6" fmla="*/ 37 w 37"/>
                  <a:gd name="T7" fmla="*/ 31 h 37"/>
                  <a:gd name="T8" fmla="*/ 29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9" y="37"/>
                    </a:moveTo>
                    <a:lnTo>
                      <a:pt x="0" y="8"/>
                    </a:lnTo>
                    <a:lnTo>
                      <a:pt x="6" y="0"/>
                    </a:lnTo>
                    <a:lnTo>
                      <a:pt x="37" y="31"/>
                    </a:lnTo>
                    <a:lnTo>
                      <a:pt x="29" y="37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4" name="Freeform 162">
                <a:extLst>
                  <a:ext uri="{FF2B5EF4-FFF2-40B4-BE49-F238E27FC236}">
                    <a16:creationId xmlns:a16="http://schemas.microsoft.com/office/drawing/2014/main" id="{EBCE8487-1B7B-DC4F-4D30-0095CB46F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67826" y="4397323"/>
                <a:ext cx="320149" cy="320149"/>
              </a:xfrm>
              <a:custGeom>
                <a:avLst/>
                <a:gdLst>
                  <a:gd name="T0" fmla="*/ 84 w 168"/>
                  <a:gd name="T1" fmla="*/ 168 h 168"/>
                  <a:gd name="T2" fmla="*/ 0 w 168"/>
                  <a:gd name="T3" fmla="*/ 84 h 168"/>
                  <a:gd name="T4" fmla="*/ 84 w 168"/>
                  <a:gd name="T5" fmla="*/ 0 h 168"/>
                  <a:gd name="T6" fmla="*/ 168 w 168"/>
                  <a:gd name="T7" fmla="*/ 84 h 168"/>
                  <a:gd name="T8" fmla="*/ 84 w 168"/>
                  <a:gd name="T9" fmla="*/ 168 h 168"/>
                  <a:gd name="T10" fmla="*/ 84 w 168"/>
                  <a:gd name="T11" fmla="*/ 6 h 168"/>
                  <a:gd name="T12" fmla="*/ 6 w 168"/>
                  <a:gd name="T13" fmla="*/ 84 h 168"/>
                  <a:gd name="T14" fmla="*/ 84 w 168"/>
                  <a:gd name="T15" fmla="*/ 162 h 168"/>
                  <a:gd name="T16" fmla="*/ 162 w 168"/>
                  <a:gd name="T17" fmla="*/ 84 h 168"/>
                  <a:gd name="T18" fmla="*/ 84 w 168"/>
                  <a:gd name="T19" fmla="*/ 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8" h="168">
                    <a:moveTo>
                      <a:pt x="84" y="168"/>
                    </a:moveTo>
                    <a:cubicBezTo>
                      <a:pt x="38" y="168"/>
                      <a:pt x="0" y="131"/>
                      <a:pt x="0" y="84"/>
                    </a:cubicBezTo>
                    <a:cubicBezTo>
                      <a:pt x="0" y="38"/>
                      <a:pt x="38" y="0"/>
                      <a:pt x="84" y="0"/>
                    </a:cubicBezTo>
                    <a:cubicBezTo>
                      <a:pt x="130" y="0"/>
                      <a:pt x="168" y="38"/>
                      <a:pt x="168" y="84"/>
                    </a:cubicBezTo>
                    <a:cubicBezTo>
                      <a:pt x="168" y="131"/>
                      <a:pt x="130" y="168"/>
                      <a:pt x="84" y="168"/>
                    </a:cubicBezTo>
                    <a:close/>
                    <a:moveTo>
                      <a:pt x="84" y="6"/>
                    </a:moveTo>
                    <a:cubicBezTo>
                      <a:pt x="41" y="6"/>
                      <a:pt x="6" y="41"/>
                      <a:pt x="6" y="84"/>
                    </a:cubicBezTo>
                    <a:cubicBezTo>
                      <a:pt x="6" y="127"/>
                      <a:pt x="41" y="162"/>
                      <a:pt x="84" y="162"/>
                    </a:cubicBezTo>
                    <a:cubicBezTo>
                      <a:pt x="127" y="162"/>
                      <a:pt x="162" y="127"/>
                      <a:pt x="162" y="84"/>
                    </a:cubicBezTo>
                    <a:cubicBezTo>
                      <a:pt x="162" y="41"/>
                      <a:pt x="127" y="6"/>
                      <a:pt x="8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5" name="Freeform 163">
                <a:extLst>
                  <a:ext uri="{FF2B5EF4-FFF2-40B4-BE49-F238E27FC236}">
                    <a16:creationId xmlns:a16="http://schemas.microsoft.com/office/drawing/2014/main" id="{6C353EFD-0A51-247D-9F9E-964856BBE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4575" y="4446767"/>
                <a:ext cx="100124" cy="126082"/>
              </a:xfrm>
              <a:custGeom>
                <a:avLst/>
                <a:gdLst>
                  <a:gd name="T0" fmla="*/ 81 w 81"/>
                  <a:gd name="T1" fmla="*/ 102 h 102"/>
                  <a:gd name="T2" fmla="*/ 0 w 81"/>
                  <a:gd name="T3" fmla="*/ 102 h 102"/>
                  <a:gd name="T4" fmla="*/ 0 w 81"/>
                  <a:gd name="T5" fmla="*/ 93 h 102"/>
                  <a:gd name="T6" fmla="*/ 72 w 81"/>
                  <a:gd name="T7" fmla="*/ 93 h 102"/>
                  <a:gd name="T8" fmla="*/ 72 w 81"/>
                  <a:gd name="T9" fmla="*/ 0 h 102"/>
                  <a:gd name="T10" fmla="*/ 81 w 81"/>
                  <a:gd name="T11" fmla="*/ 0 h 102"/>
                  <a:gd name="T12" fmla="*/ 81 w 81"/>
                  <a:gd name="T13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102">
                    <a:moveTo>
                      <a:pt x="81" y="102"/>
                    </a:moveTo>
                    <a:lnTo>
                      <a:pt x="0" y="102"/>
                    </a:lnTo>
                    <a:lnTo>
                      <a:pt x="0" y="93"/>
                    </a:lnTo>
                    <a:lnTo>
                      <a:pt x="72" y="93"/>
                    </a:lnTo>
                    <a:lnTo>
                      <a:pt x="72" y="0"/>
                    </a:lnTo>
                    <a:lnTo>
                      <a:pt x="81" y="0"/>
                    </a:lnTo>
                    <a:lnTo>
                      <a:pt x="81" y="102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36" name="Group 35" descr="search icon">
            <a:extLst>
              <a:ext uri="{FF2B5EF4-FFF2-40B4-BE49-F238E27FC236}">
                <a16:creationId xmlns:a16="http://schemas.microsoft.com/office/drawing/2014/main" id="{687B6C54-1790-E64F-C35E-76DA0084E125}"/>
              </a:ext>
            </a:extLst>
          </p:cNvPr>
          <p:cNvGrpSpPr/>
          <p:nvPr/>
        </p:nvGrpSpPr>
        <p:grpSpPr>
          <a:xfrm>
            <a:off x="10965805" y="4109091"/>
            <a:ext cx="823913" cy="823912"/>
            <a:chOff x="744537" y="3975887"/>
            <a:chExt cx="823913" cy="823912"/>
          </a:xfrm>
          <a:solidFill>
            <a:schemeClr val="bg1"/>
          </a:solidFill>
        </p:grpSpPr>
        <p:sp>
          <p:nvSpPr>
            <p:cNvPr id="37" name="Oval 68">
              <a:extLst>
                <a:ext uri="{FF2B5EF4-FFF2-40B4-BE49-F238E27FC236}">
                  <a16:creationId xmlns:a16="http://schemas.microsoft.com/office/drawing/2014/main" id="{B380DB8B-E26A-8E61-2773-43637836E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975887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38" name="Group 37" descr="Unlock">
              <a:extLst>
                <a:ext uri="{FF2B5EF4-FFF2-40B4-BE49-F238E27FC236}">
                  <a16:creationId xmlns:a16="http://schemas.microsoft.com/office/drawing/2014/main" id="{31961FAE-21E7-F95B-70E1-CB3C7A6E0466}"/>
                </a:ext>
              </a:extLst>
            </p:cNvPr>
            <p:cNvGrpSpPr/>
            <p:nvPr/>
          </p:nvGrpSpPr>
          <p:grpSpPr bwMode="auto">
            <a:xfrm>
              <a:off x="993177" y="4210484"/>
              <a:ext cx="360941" cy="337455"/>
              <a:chOff x="6955211" y="4365185"/>
              <a:chExt cx="360941" cy="337455"/>
            </a:xfrm>
            <a:grpFill/>
          </p:grpSpPr>
          <p:sp>
            <p:nvSpPr>
              <p:cNvPr id="39" name="Freeform 188">
                <a:extLst>
                  <a:ext uri="{FF2B5EF4-FFF2-40B4-BE49-F238E27FC236}">
                    <a16:creationId xmlns:a16="http://schemas.microsoft.com/office/drawing/2014/main" id="{EA3947DC-A4F0-4BBD-41F0-EA78C084B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5211" y="4365185"/>
                <a:ext cx="337455" cy="337455"/>
              </a:xfrm>
              <a:custGeom>
                <a:avLst/>
                <a:gdLst>
                  <a:gd name="T0" fmla="*/ 88 w 177"/>
                  <a:gd name="T1" fmla="*/ 177 h 177"/>
                  <a:gd name="T2" fmla="*/ 26 w 177"/>
                  <a:gd name="T3" fmla="*/ 151 h 177"/>
                  <a:gd name="T4" fmla="*/ 0 w 177"/>
                  <a:gd name="T5" fmla="*/ 89 h 177"/>
                  <a:gd name="T6" fmla="*/ 26 w 177"/>
                  <a:gd name="T7" fmla="*/ 27 h 177"/>
                  <a:gd name="T8" fmla="*/ 88 w 177"/>
                  <a:gd name="T9" fmla="*/ 0 h 177"/>
                  <a:gd name="T10" fmla="*/ 88 w 177"/>
                  <a:gd name="T11" fmla="*/ 0 h 177"/>
                  <a:gd name="T12" fmla="*/ 177 w 177"/>
                  <a:gd name="T13" fmla="*/ 88 h 177"/>
                  <a:gd name="T14" fmla="*/ 171 w 177"/>
                  <a:gd name="T15" fmla="*/ 88 h 177"/>
                  <a:gd name="T16" fmla="*/ 88 w 177"/>
                  <a:gd name="T17" fmla="*/ 6 h 177"/>
                  <a:gd name="T18" fmla="*/ 88 w 177"/>
                  <a:gd name="T19" fmla="*/ 6 h 177"/>
                  <a:gd name="T20" fmla="*/ 30 w 177"/>
                  <a:gd name="T21" fmla="*/ 31 h 177"/>
                  <a:gd name="T22" fmla="*/ 6 w 177"/>
                  <a:gd name="T23" fmla="*/ 89 h 177"/>
                  <a:gd name="T24" fmla="*/ 31 w 177"/>
                  <a:gd name="T25" fmla="*/ 147 h 177"/>
                  <a:gd name="T26" fmla="*/ 88 w 177"/>
                  <a:gd name="T27" fmla="*/ 171 h 177"/>
                  <a:gd name="T28" fmla="*/ 89 w 177"/>
                  <a:gd name="T29" fmla="*/ 171 h 177"/>
                  <a:gd name="T30" fmla="*/ 155 w 177"/>
                  <a:gd name="T31" fmla="*/ 136 h 177"/>
                  <a:gd name="T32" fmla="*/ 160 w 177"/>
                  <a:gd name="T33" fmla="*/ 140 h 177"/>
                  <a:gd name="T34" fmla="*/ 89 w 177"/>
                  <a:gd name="T35" fmla="*/ 177 h 177"/>
                  <a:gd name="T36" fmla="*/ 88 w 177"/>
                  <a:gd name="T37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7" h="177">
                    <a:moveTo>
                      <a:pt x="88" y="177"/>
                    </a:moveTo>
                    <a:cubicBezTo>
                      <a:pt x="65" y="177"/>
                      <a:pt x="43" y="168"/>
                      <a:pt x="26" y="151"/>
                    </a:cubicBezTo>
                    <a:cubicBezTo>
                      <a:pt x="10" y="135"/>
                      <a:pt x="0" y="113"/>
                      <a:pt x="0" y="89"/>
                    </a:cubicBezTo>
                    <a:cubicBezTo>
                      <a:pt x="0" y="66"/>
                      <a:pt x="9" y="43"/>
                      <a:pt x="26" y="27"/>
                    </a:cubicBezTo>
                    <a:cubicBezTo>
                      <a:pt x="42" y="10"/>
                      <a:pt x="64" y="1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137" y="0"/>
                      <a:pt x="176" y="40"/>
                      <a:pt x="177" y="88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70" y="43"/>
                      <a:pt x="133" y="6"/>
                      <a:pt x="88" y="6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66" y="7"/>
                      <a:pt x="45" y="15"/>
                      <a:pt x="30" y="31"/>
                    </a:cubicBezTo>
                    <a:cubicBezTo>
                      <a:pt x="14" y="46"/>
                      <a:pt x="6" y="67"/>
                      <a:pt x="6" y="89"/>
                    </a:cubicBezTo>
                    <a:cubicBezTo>
                      <a:pt x="6" y="111"/>
                      <a:pt x="15" y="132"/>
                      <a:pt x="31" y="147"/>
                    </a:cubicBezTo>
                    <a:cubicBezTo>
                      <a:pt x="46" y="162"/>
                      <a:pt x="67" y="171"/>
                      <a:pt x="88" y="171"/>
                    </a:cubicBezTo>
                    <a:cubicBezTo>
                      <a:pt x="88" y="171"/>
                      <a:pt x="89" y="171"/>
                      <a:pt x="89" y="171"/>
                    </a:cubicBezTo>
                    <a:cubicBezTo>
                      <a:pt x="115" y="171"/>
                      <a:pt x="140" y="158"/>
                      <a:pt x="155" y="136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44" y="163"/>
                      <a:pt x="117" y="177"/>
                      <a:pt x="89" y="177"/>
                    </a:cubicBezTo>
                    <a:cubicBezTo>
                      <a:pt x="89" y="177"/>
                      <a:pt x="89" y="177"/>
                      <a:pt x="88" y="17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0" name="Freeform 189">
                <a:extLst>
                  <a:ext uri="{FF2B5EF4-FFF2-40B4-BE49-F238E27FC236}">
                    <a16:creationId xmlns:a16="http://schemas.microsoft.com/office/drawing/2014/main" id="{3CF09D77-F139-589A-402B-7F84A0051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1986" y="4491267"/>
                <a:ext cx="74166" cy="66749"/>
              </a:xfrm>
              <a:custGeom>
                <a:avLst/>
                <a:gdLst>
                  <a:gd name="T0" fmla="*/ 0 w 60"/>
                  <a:gd name="T1" fmla="*/ 0 h 54"/>
                  <a:gd name="T2" fmla="*/ 31 w 60"/>
                  <a:gd name="T3" fmla="*/ 54 h 54"/>
                  <a:gd name="T4" fmla="*/ 60 w 60"/>
                  <a:gd name="T5" fmla="*/ 0 h 54"/>
                  <a:gd name="T6" fmla="*/ 0 w 60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54">
                    <a:moveTo>
                      <a:pt x="0" y="0"/>
                    </a:moveTo>
                    <a:lnTo>
                      <a:pt x="31" y="54"/>
                    </a:lnTo>
                    <a:lnTo>
                      <a:pt x="6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1" name="Freeform 190">
                <a:extLst>
                  <a:ext uri="{FF2B5EF4-FFF2-40B4-BE49-F238E27FC236}">
                    <a16:creationId xmlns:a16="http://schemas.microsoft.com/office/drawing/2014/main" id="{DF1C3F24-8703-6BE4-9364-F8F863E775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7585" y="4452947"/>
                <a:ext cx="91471" cy="76638"/>
              </a:xfrm>
              <a:custGeom>
                <a:avLst/>
                <a:gdLst>
                  <a:gd name="T0" fmla="*/ 1 w 48"/>
                  <a:gd name="T1" fmla="*/ 40 h 40"/>
                  <a:gd name="T2" fmla="*/ 0 w 48"/>
                  <a:gd name="T3" fmla="*/ 24 h 40"/>
                  <a:gd name="T4" fmla="*/ 24 w 48"/>
                  <a:gd name="T5" fmla="*/ 0 h 40"/>
                  <a:gd name="T6" fmla="*/ 48 w 48"/>
                  <a:gd name="T7" fmla="*/ 23 h 40"/>
                  <a:gd name="T8" fmla="*/ 48 w 48"/>
                  <a:gd name="T9" fmla="*/ 40 h 40"/>
                  <a:gd name="T10" fmla="*/ 1 w 48"/>
                  <a:gd name="T11" fmla="*/ 40 h 40"/>
                  <a:gd name="T12" fmla="*/ 24 w 48"/>
                  <a:gd name="T13" fmla="*/ 6 h 40"/>
                  <a:gd name="T14" fmla="*/ 6 w 48"/>
                  <a:gd name="T15" fmla="*/ 24 h 40"/>
                  <a:gd name="T16" fmla="*/ 7 w 48"/>
                  <a:gd name="T17" fmla="*/ 34 h 40"/>
                  <a:gd name="T18" fmla="*/ 42 w 48"/>
                  <a:gd name="T19" fmla="*/ 34 h 40"/>
                  <a:gd name="T20" fmla="*/ 42 w 48"/>
                  <a:gd name="T21" fmla="*/ 23 h 40"/>
                  <a:gd name="T22" fmla="*/ 24 w 48"/>
                  <a:gd name="T23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40">
                    <a:moveTo>
                      <a:pt x="1" y="4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3"/>
                    </a:cubicBezTo>
                    <a:cubicBezTo>
                      <a:pt x="48" y="40"/>
                      <a:pt x="48" y="40"/>
                      <a:pt x="48" y="40"/>
                    </a:cubicBezTo>
                    <a:lnTo>
                      <a:pt x="1" y="40"/>
                    </a:lnTo>
                    <a:close/>
                    <a:moveTo>
                      <a:pt x="24" y="6"/>
                    </a:moveTo>
                    <a:cubicBezTo>
                      <a:pt x="14" y="6"/>
                      <a:pt x="6" y="14"/>
                      <a:pt x="6" y="2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42" y="34"/>
                      <a:pt x="42" y="34"/>
                      <a:pt x="42" y="34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42" y="14"/>
                      <a:pt x="34" y="6"/>
                      <a:pt x="24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2" name="Freeform 191">
                <a:extLst>
                  <a:ext uri="{FF2B5EF4-FFF2-40B4-BE49-F238E27FC236}">
                    <a16:creationId xmlns:a16="http://schemas.microsoft.com/office/drawing/2014/main" id="{1DE81C7A-C97B-97B8-B392-DBCDDA5F8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59043" y="4517225"/>
                <a:ext cx="131026" cy="100124"/>
              </a:xfrm>
              <a:custGeom>
                <a:avLst/>
                <a:gdLst>
                  <a:gd name="T0" fmla="*/ 5 w 69"/>
                  <a:gd name="T1" fmla="*/ 52 h 52"/>
                  <a:gd name="T2" fmla="*/ 5 w 69"/>
                  <a:gd name="T3" fmla="*/ 52 h 52"/>
                  <a:gd name="T4" fmla="*/ 1 w 69"/>
                  <a:gd name="T5" fmla="*/ 47 h 52"/>
                  <a:gd name="T6" fmla="*/ 0 w 69"/>
                  <a:gd name="T7" fmla="*/ 4 h 52"/>
                  <a:gd name="T8" fmla="*/ 5 w 69"/>
                  <a:gd name="T9" fmla="*/ 0 h 52"/>
                  <a:gd name="T10" fmla="*/ 64 w 69"/>
                  <a:gd name="T11" fmla="*/ 0 h 52"/>
                  <a:gd name="T12" fmla="*/ 68 w 69"/>
                  <a:gd name="T13" fmla="*/ 4 h 52"/>
                  <a:gd name="T14" fmla="*/ 69 w 69"/>
                  <a:gd name="T15" fmla="*/ 47 h 52"/>
                  <a:gd name="T16" fmla="*/ 67 w 69"/>
                  <a:gd name="T17" fmla="*/ 50 h 52"/>
                  <a:gd name="T18" fmla="*/ 64 w 69"/>
                  <a:gd name="T19" fmla="*/ 51 h 52"/>
                  <a:gd name="T20" fmla="*/ 5 w 69"/>
                  <a:gd name="T21" fmla="*/ 52 h 52"/>
                  <a:gd name="T22" fmla="*/ 6 w 69"/>
                  <a:gd name="T23" fmla="*/ 6 h 52"/>
                  <a:gd name="T24" fmla="*/ 7 w 69"/>
                  <a:gd name="T25" fmla="*/ 46 h 52"/>
                  <a:gd name="T26" fmla="*/ 62 w 69"/>
                  <a:gd name="T27" fmla="*/ 45 h 52"/>
                  <a:gd name="T28" fmla="*/ 62 w 69"/>
                  <a:gd name="T29" fmla="*/ 6 h 52"/>
                  <a:gd name="T30" fmla="*/ 6 w 69"/>
                  <a:gd name="T31" fmla="*/ 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9" h="52">
                    <a:moveTo>
                      <a:pt x="5" y="52"/>
                    </a:moveTo>
                    <a:cubicBezTo>
                      <a:pt x="5" y="52"/>
                      <a:pt x="5" y="52"/>
                      <a:pt x="5" y="52"/>
                    </a:cubicBezTo>
                    <a:cubicBezTo>
                      <a:pt x="3" y="52"/>
                      <a:pt x="1" y="50"/>
                      <a:pt x="1" y="4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6" y="0"/>
                      <a:pt x="68" y="2"/>
                      <a:pt x="68" y="4"/>
                    </a:cubicBezTo>
                    <a:cubicBezTo>
                      <a:pt x="69" y="47"/>
                      <a:pt x="69" y="47"/>
                      <a:pt x="69" y="47"/>
                    </a:cubicBezTo>
                    <a:cubicBezTo>
                      <a:pt x="69" y="48"/>
                      <a:pt x="68" y="49"/>
                      <a:pt x="67" y="50"/>
                    </a:cubicBezTo>
                    <a:cubicBezTo>
                      <a:pt x="66" y="51"/>
                      <a:pt x="65" y="51"/>
                      <a:pt x="64" y="51"/>
                    </a:cubicBezTo>
                    <a:lnTo>
                      <a:pt x="5" y="52"/>
                    </a:lnTo>
                    <a:close/>
                    <a:moveTo>
                      <a:pt x="6" y="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62" y="45"/>
                      <a:pt x="62" y="45"/>
                      <a:pt x="62" y="45"/>
                    </a:cubicBezTo>
                    <a:cubicBezTo>
                      <a:pt x="62" y="6"/>
                      <a:pt x="62" y="6"/>
                      <a:pt x="62" y="6"/>
                    </a:cubicBez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43" name="Group 42" descr="tools icon">
            <a:extLst>
              <a:ext uri="{FF2B5EF4-FFF2-40B4-BE49-F238E27FC236}">
                <a16:creationId xmlns:a16="http://schemas.microsoft.com/office/drawing/2014/main" id="{3B45C904-9ACC-B1CD-AC94-A5F94AF041AF}"/>
              </a:ext>
            </a:extLst>
          </p:cNvPr>
          <p:cNvGrpSpPr/>
          <p:nvPr/>
        </p:nvGrpSpPr>
        <p:grpSpPr>
          <a:xfrm>
            <a:off x="10934055" y="5079052"/>
            <a:ext cx="823913" cy="823912"/>
            <a:chOff x="712787" y="4945848"/>
            <a:chExt cx="823913" cy="823912"/>
          </a:xfrm>
          <a:solidFill>
            <a:schemeClr val="bg1"/>
          </a:solidFill>
        </p:grpSpPr>
        <p:sp>
          <p:nvSpPr>
            <p:cNvPr id="44" name="Oval 68">
              <a:extLst>
                <a:ext uri="{FF2B5EF4-FFF2-40B4-BE49-F238E27FC236}">
                  <a16:creationId xmlns:a16="http://schemas.microsoft.com/office/drawing/2014/main" id="{30FC6696-8ED2-5800-8AD1-C2F5C1FCEE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787" y="4945848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45" name="Group 44" descr="Mechanics">
              <a:extLst>
                <a:ext uri="{FF2B5EF4-FFF2-40B4-BE49-F238E27FC236}">
                  <a16:creationId xmlns:a16="http://schemas.microsoft.com/office/drawing/2014/main" id="{6B0F16DB-169E-EC84-058E-2EA7335875D9}"/>
                </a:ext>
              </a:extLst>
            </p:cNvPr>
            <p:cNvGrpSpPr/>
            <p:nvPr/>
          </p:nvGrpSpPr>
          <p:grpSpPr bwMode="auto">
            <a:xfrm>
              <a:off x="925095" y="5165730"/>
              <a:ext cx="396000" cy="396000"/>
              <a:chOff x="5508977" y="3649484"/>
              <a:chExt cx="331274" cy="323857"/>
            </a:xfrm>
            <a:grpFill/>
          </p:grpSpPr>
          <p:sp>
            <p:nvSpPr>
              <p:cNvPr id="46" name="Freeform 129">
                <a:extLst>
                  <a:ext uri="{FF2B5EF4-FFF2-40B4-BE49-F238E27FC236}">
                    <a16:creationId xmlns:a16="http://schemas.microsoft.com/office/drawing/2014/main" id="{0B8AAE0D-A0CC-6781-4119-45DC8DA00C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8322" y="3828718"/>
                <a:ext cx="161929" cy="144623"/>
              </a:xfrm>
              <a:custGeom>
                <a:avLst/>
                <a:gdLst>
                  <a:gd name="T0" fmla="*/ 60 w 85"/>
                  <a:gd name="T1" fmla="*/ 76 h 76"/>
                  <a:gd name="T2" fmla="*/ 60 w 85"/>
                  <a:gd name="T3" fmla="*/ 76 h 76"/>
                  <a:gd name="T4" fmla="*/ 52 w 85"/>
                  <a:gd name="T5" fmla="*/ 73 h 76"/>
                  <a:gd name="T6" fmla="*/ 0 w 85"/>
                  <a:gd name="T7" fmla="*/ 22 h 76"/>
                  <a:gd name="T8" fmla="*/ 13 w 85"/>
                  <a:gd name="T9" fmla="*/ 9 h 76"/>
                  <a:gd name="T10" fmla="*/ 30 w 85"/>
                  <a:gd name="T11" fmla="*/ 1 h 76"/>
                  <a:gd name="T12" fmla="*/ 33 w 85"/>
                  <a:gd name="T13" fmla="*/ 0 h 76"/>
                  <a:gd name="T14" fmla="*/ 79 w 85"/>
                  <a:gd name="T15" fmla="*/ 46 h 76"/>
                  <a:gd name="T16" fmla="*/ 74 w 85"/>
                  <a:gd name="T17" fmla="*/ 69 h 76"/>
                  <a:gd name="T18" fmla="*/ 60 w 85"/>
                  <a:gd name="T19" fmla="*/ 76 h 76"/>
                  <a:gd name="T20" fmla="*/ 58 w 85"/>
                  <a:gd name="T21" fmla="*/ 68 h 76"/>
                  <a:gd name="T22" fmla="*/ 60 w 85"/>
                  <a:gd name="T23" fmla="*/ 68 h 76"/>
                  <a:gd name="T24" fmla="*/ 68 w 85"/>
                  <a:gd name="T25" fmla="*/ 63 h 76"/>
                  <a:gd name="T26" fmla="*/ 73 w 85"/>
                  <a:gd name="T27" fmla="*/ 52 h 76"/>
                  <a:gd name="T28" fmla="*/ 30 w 85"/>
                  <a:gd name="T29" fmla="*/ 9 h 76"/>
                  <a:gd name="T30" fmla="*/ 18 w 85"/>
                  <a:gd name="T31" fmla="*/ 14 h 76"/>
                  <a:gd name="T32" fmla="*/ 11 w 85"/>
                  <a:gd name="T33" fmla="*/ 21 h 76"/>
                  <a:gd name="T34" fmla="*/ 58 w 85"/>
                  <a:gd name="T35" fmla="*/ 68 h 76"/>
                  <a:gd name="T36" fmla="*/ 58 w 85"/>
                  <a:gd name="T37" fmla="*/ 6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5" h="76">
                    <a:moveTo>
                      <a:pt x="60" y="76"/>
                    </a:moveTo>
                    <a:cubicBezTo>
                      <a:pt x="60" y="76"/>
                      <a:pt x="60" y="76"/>
                      <a:pt x="60" y="76"/>
                    </a:cubicBezTo>
                    <a:cubicBezTo>
                      <a:pt x="55" y="76"/>
                      <a:pt x="52" y="74"/>
                      <a:pt x="52" y="73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4" y="8"/>
                      <a:pt x="17" y="5"/>
                      <a:pt x="30" y="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82" y="49"/>
                      <a:pt x="85" y="58"/>
                      <a:pt x="74" y="69"/>
                    </a:cubicBezTo>
                    <a:cubicBezTo>
                      <a:pt x="69" y="74"/>
                      <a:pt x="64" y="76"/>
                      <a:pt x="60" y="76"/>
                    </a:cubicBezTo>
                    <a:close/>
                    <a:moveTo>
                      <a:pt x="58" y="68"/>
                    </a:moveTo>
                    <a:cubicBezTo>
                      <a:pt x="58" y="68"/>
                      <a:pt x="58" y="68"/>
                      <a:pt x="60" y="68"/>
                    </a:cubicBezTo>
                    <a:cubicBezTo>
                      <a:pt x="62" y="68"/>
                      <a:pt x="65" y="66"/>
                      <a:pt x="68" y="63"/>
                    </a:cubicBezTo>
                    <a:cubicBezTo>
                      <a:pt x="76" y="56"/>
                      <a:pt x="73" y="52"/>
                      <a:pt x="73" y="52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1" y="12"/>
                      <a:pt x="19" y="14"/>
                      <a:pt x="18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8" y="68"/>
                      <a:pt x="58" y="68"/>
                      <a:pt x="58" y="6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7" name="Freeform 130">
                <a:extLst>
                  <a:ext uri="{FF2B5EF4-FFF2-40B4-BE49-F238E27FC236}">
                    <a16:creationId xmlns:a16="http://schemas.microsoft.com/office/drawing/2014/main" id="{C4AA161E-775B-9704-92E4-4BAC4DDBBB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8977" y="3649484"/>
                <a:ext cx="154512" cy="153276"/>
              </a:xfrm>
              <a:custGeom>
                <a:avLst/>
                <a:gdLst>
                  <a:gd name="T0" fmla="*/ 65 w 81"/>
                  <a:gd name="T1" fmla="*/ 80 h 80"/>
                  <a:gd name="T2" fmla="*/ 32 w 81"/>
                  <a:gd name="T3" fmla="*/ 47 h 80"/>
                  <a:gd name="T4" fmla="*/ 18 w 81"/>
                  <a:gd name="T5" fmla="*/ 41 h 80"/>
                  <a:gd name="T6" fmla="*/ 0 w 81"/>
                  <a:gd name="T7" fmla="*/ 15 h 80"/>
                  <a:gd name="T8" fmla="*/ 15 w 81"/>
                  <a:gd name="T9" fmla="*/ 0 h 80"/>
                  <a:gd name="T10" fmla="*/ 42 w 81"/>
                  <a:gd name="T11" fmla="*/ 17 h 80"/>
                  <a:gd name="T12" fmla="*/ 48 w 81"/>
                  <a:gd name="T13" fmla="*/ 31 h 80"/>
                  <a:gd name="T14" fmla="*/ 81 w 81"/>
                  <a:gd name="T15" fmla="*/ 64 h 80"/>
                  <a:gd name="T16" fmla="*/ 79 w 81"/>
                  <a:gd name="T17" fmla="*/ 67 h 80"/>
                  <a:gd name="T18" fmla="*/ 74 w 81"/>
                  <a:gd name="T19" fmla="*/ 72 h 80"/>
                  <a:gd name="T20" fmla="*/ 74 w 81"/>
                  <a:gd name="T21" fmla="*/ 73 h 80"/>
                  <a:gd name="T22" fmla="*/ 65 w 81"/>
                  <a:gd name="T23" fmla="*/ 80 h 80"/>
                  <a:gd name="T24" fmla="*/ 23 w 81"/>
                  <a:gd name="T25" fmla="*/ 35 h 80"/>
                  <a:gd name="T26" fmla="*/ 36 w 81"/>
                  <a:gd name="T27" fmla="*/ 41 h 80"/>
                  <a:gd name="T28" fmla="*/ 65 w 81"/>
                  <a:gd name="T29" fmla="*/ 70 h 80"/>
                  <a:gd name="T30" fmla="*/ 69 w 81"/>
                  <a:gd name="T31" fmla="*/ 66 h 80"/>
                  <a:gd name="T32" fmla="*/ 70 w 81"/>
                  <a:gd name="T33" fmla="*/ 65 h 80"/>
                  <a:gd name="T34" fmla="*/ 41 w 81"/>
                  <a:gd name="T35" fmla="*/ 36 h 80"/>
                  <a:gd name="T36" fmla="*/ 35 w 81"/>
                  <a:gd name="T37" fmla="*/ 22 h 80"/>
                  <a:gd name="T38" fmla="*/ 16 w 81"/>
                  <a:gd name="T39" fmla="*/ 10 h 80"/>
                  <a:gd name="T40" fmla="*/ 11 w 81"/>
                  <a:gd name="T41" fmla="*/ 16 h 80"/>
                  <a:gd name="T42" fmla="*/ 23 w 81"/>
                  <a:gd name="T43" fmla="*/ 3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1" h="80">
                    <a:moveTo>
                      <a:pt x="65" y="80"/>
                    </a:moveTo>
                    <a:cubicBezTo>
                      <a:pt x="32" y="47"/>
                      <a:pt x="32" y="47"/>
                      <a:pt x="32" y="47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77" y="69"/>
                      <a:pt x="76" y="71"/>
                      <a:pt x="74" y="72"/>
                    </a:cubicBezTo>
                    <a:cubicBezTo>
                      <a:pt x="74" y="73"/>
                      <a:pt x="74" y="73"/>
                      <a:pt x="74" y="73"/>
                    </a:cubicBezTo>
                    <a:lnTo>
                      <a:pt x="65" y="80"/>
                    </a:lnTo>
                    <a:close/>
                    <a:moveTo>
                      <a:pt x="23" y="35"/>
                    </a:moveTo>
                    <a:cubicBezTo>
                      <a:pt x="36" y="41"/>
                      <a:pt x="36" y="41"/>
                      <a:pt x="36" y="41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70" y="65"/>
                      <a:pt x="70" y="65"/>
                    </a:cubicBezTo>
                    <a:cubicBezTo>
                      <a:pt x="41" y="36"/>
                      <a:pt x="41" y="36"/>
                      <a:pt x="41" y="36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1" y="16"/>
                      <a:pt x="11" y="16"/>
                      <a:pt x="11" y="16"/>
                    </a:cubicBezTo>
                    <a:lnTo>
                      <a:pt x="23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8" name="Freeform 131">
                <a:extLst>
                  <a:ext uri="{FF2B5EF4-FFF2-40B4-BE49-F238E27FC236}">
                    <a16:creationId xmlns:a16="http://schemas.microsoft.com/office/drawing/2014/main" id="{CFC8005E-4EBB-D416-EE9D-B492244781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3921" y="3670498"/>
                <a:ext cx="302844" cy="286775"/>
              </a:xfrm>
              <a:custGeom>
                <a:avLst/>
                <a:gdLst>
                  <a:gd name="T0" fmla="*/ 127 w 159"/>
                  <a:gd name="T1" fmla="*/ 4 h 150"/>
                  <a:gd name="T2" fmla="*/ 140 w 159"/>
                  <a:gd name="T3" fmla="*/ 6 h 150"/>
                  <a:gd name="T4" fmla="*/ 123 w 159"/>
                  <a:gd name="T5" fmla="*/ 13 h 150"/>
                  <a:gd name="T6" fmla="*/ 121 w 159"/>
                  <a:gd name="T7" fmla="*/ 14 h 150"/>
                  <a:gd name="T8" fmla="*/ 121 w 159"/>
                  <a:gd name="T9" fmla="*/ 16 h 150"/>
                  <a:gd name="T10" fmla="*/ 120 w 159"/>
                  <a:gd name="T11" fmla="*/ 23 h 150"/>
                  <a:gd name="T12" fmla="*/ 120 w 159"/>
                  <a:gd name="T13" fmla="*/ 24 h 150"/>
                  <a:gd name="T14" fmla="*/ 120 w 159"/>
                  <a:gd name="T15" fmla="*/ 25 h 150"/>
                  <a:gd name="T16" fmla="*/ 126 w 159"/>
                  <a:gd name="T17" fmla="*/ 39 h 150"/>
                  <a:gd name="T18" fmla="*/ 128 w 159"/>
                  <a:gd name="T19" fmla="*/ 43 h 150"/>
                  <a:gd name="T20" fmla="*/ 131 w 159"/>
                  <a:gd name="T21" fmla="*/ 41 h 150"/>
                  <a:gd name="T22" fmla="*/ 152 w 159"/>
                  <a:gd name="T23" fmla="*/ 32 h 150"/>
                  <a:gd name="T24" fmla="*/ 135 w 159"/>
                  <a:gd name="T25" fmla="*/ 50 h 150"/>
                  <a:gd name="T26" fmla="*/ 132 w 159"/>
                  <a:gd name="T27" fmla="*/ 52 h 150"/>
                  <a:gd name="T28" fmla="*/ 133 w 159"/>
                  <a:gd name="T29" fmla="*/ 56 h 150"/>
                  <a:gd name="T30" fmla="*/ 138 w 159"/>
                  <a:gd name="T31" fmla="*/ 68 h 150"/>
                  <a:gd name="T32" fmla="*/ 90 w 159"/>
                  <a:gd name="T33" fmla="*/ 83 h 150"/>
                  <a:gd name="T34" fmla="*/ 33 w 159"/>
                  <a:gd name="T35" fmla="*/ 142 h 150"/>
                  <a:gd name="T36" fmla="*/ 23 w 159"/>
                  <a:gd name="T37" fmla="*/ 146 h 150"/>
                  <a:gd name="T38" fmla="*/ 15 w 159"/>
                  <a:gd name="T39" fmla="*/ 142 h 150"/>
                  <a:gd name="T40" fmla="*/ 15 w 159"/>
                  <a:gd name="T41" fmla="*/ 123 h 150"/>
                  <a:gd name="T42" fmla="*/ 80 w 159"/>
                  <a:gd name="T43" fmla="*/ 71 h 150"/>
                  <a:gd name="T44" fmla="*/ 80 w 159"/>
                  <a:gd name="T45" fmla="*/ 71 h 150"/>
                  <a:gd name="T46" fmla="*/ 80 w 159"/>
                  <a:gd name="T47" fmla="*/ 70 h 150"/>
                  <a:gd name="T48" fmla="*/ 102 w 159"/>
                  <a:gd name="T49" fmla="*/ 23 h 150"/>
                  <a:gd name="T50" fmla="*/ 104 w 159"/>
                  <a:gd name="T51" fmla="*/ 15 h 150"/>
                  <a:gd name="T52" fmla="*/ 121 w 159"/>
                  <a:gd name="T53" fmla="*/ 4 h 150"/>
                  <a:gd name="T54" fmla="*/ 122 w 159"/>
                  <a:gd name="T55" fmla="*/ 4 h 150"/>
                  <a:gd name="T56" fmla="*/ 127 w 159"/>
                  <a:gd name="T57" fmla="*/ 4 h 150"/>
                  <a:gd name="T58" fmla="*/ 127 w 159"/>
                  <a:gd name="T59" fmla="*/ 4 h 150"/>
                  <a:gd name="T60" fmla="*/ 24 w 159"/>
                  <a:gd name="T61" fmla="*/ 142 h 150"/>
                  <a:gd name="T62" fmla="*/ 31 w 159"/>
                  <a:gd name="T63" fmla="*/ 139 h 150"/>
                  <a:gd name="T64" fmla="*/ 31 w 159"/>
                  <a:gd name="T65" fmla="*/ 125 h 150"/>
                  <a:gd name="T66" fmla="*/ 24 w 159"/>
                  <a:gd name="T67" fmla="*/ 122 h 150"/>
                  <a:gd name="T68" fmla="*/ 17 w 159"/>
                  <a:gd name="T69" fmla="*/ 125 h 150"/>
                  <a:gd name="T70" fmla="*/ 17 w 159"/>
                  <a:gd name="T71" fmla="*/ 139 h 150"/>
                  <a:gd name="T72" fmla="*/ 24 w 159"/>
                  <a:gd name="T73" fmla="*/ 142 h 150"/>
                  <a:gd name="T74" fmla="*/ 127 w 159"/>
                  <a:gd name="T75" fmla="*/ 0 h 150"/>
                  <a:gd name="T76" fmla="*/ 121 w 159"/>
                  <a:gd name="T77" fmla="*/ 0 h 150"/>
                  <a:gd name="T78" fmla="*/ 100 w 159"/>
                  <a:gd name="T79" fmla="*/ 13 h 150"/>
                  <a:gd name="T80" fmla="*/ 77 w 159"/>
                  <a:gd name="T81" fmla="*/ 68 h 150"/>
                  <a:gd name="T82" fmla="*/ 12 w 159"/>
                  <a:gd name="T83" fmla="*/ 120 h 150"/>
                  <a:gd name="T84" fmla="*/ 12 w 159"/>
                  <a:gd name="T85" fmla="*/ 145 h 150"/>
                  <a:gd name="T86" fmla="*/ 23 w 159"/>
                  <a:gd name="T87" fmla="*/ 150 h 150"/>
                  <a:gd name="T88" fmla="*/ 36 w 159"/>
                  <a:gd name="T89" fmla="*/ 145 h 150"/>
                  <a:gd name="T90" fmla="*/ 93 w 159"/>
                  <a:gd name="T91" fmla="*/ 85 h 150"/>
                  <a:gd name="T92" fmla="*/ 144 w 159"/>
                  <a:gd name="T93" fmla="*/ 71 h 150"/>
                  <a:gd name="T94" fmla="*/ 137 w 159"/>
                  <a:gd name="T95" fmla="*/ 54 h 150"/>
                  <a:gd name="T96" fmla="*/ 159 w 159"/>
                  <a:gd name="T97" fmla="*/ 25 h 150"/>
                  <a:gd name="T98" fmla="*/ 130 w 159"/>
                  <a:gd name="T99" fmla="*/ 37 h 150"/>
                  <a:gd name="T100" fmla="*/ 124 w 159"/>
                  <a:gd name="T101" fmla="*/ 24 h 150"/>
                  <a:gd name="T102" fmla="*/ 125 w 159"/>
                  <a:gd name="T103" fmla="*/ 17 h 150"/>
                  <a:gd name="T104" fmla="*/ 149 w 159"/>
                  <a:gd name="T105" fmla="*/ 6 h 150"/>
                  <a:gd name="T106" fmla="*/ 127 w 159"/>
                  <a:gd name="T107" fmla="*/ 0 h 150"/>
                  <a:gd name="T108" fmla="*/ 24 w 159"/>
                  <a:gd name="T109" fmla="*/ 138 h 150"/>
                  <a:gd name="T110" fmla="*/ 20 w 159"/>
                  <a:gd name="T111" fmla="*/ 136 h 150"/>
                  <a:gd name="T112" fmla="*/ 20 w 159"/>
                  <a:gd name="T113" fmla="*/ 128 h 150"/>
                  <a:gd name="T114" fmla="*/ 24 w 159"/>
                  <a:gd name="T115" fmla="*/ 126 h 150"/>
                  <a:gd name="T116" fmla="*/ 29 w 159"/>
                  <a:gd name="T117" fmla="*/ 128 h 150"/>
                  <a:gd name="T118" fmla="*/ 29 w 159"/>
                  <a:gd name="T119" fmla="*/ 136 h 150"/>
                  <a:gd name="T120" fmla="*/ 24 w 159"/>
                  <a:gd name="T121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9" h="150">
                    <a:moveTo>
                      <a:pt x="127" y="4"/>
                    </a:moveTo>
                    <a:cubicBezTo>
                      <a:pt x="132" y="4"/>
                      <a:pt x="136" y="5"/>
                      <a:pt x="140" y="6"/>
                    </a:cubicBezTo>
                    <a:cubicBezTo>
                      <a:pt x="123" y="13"/>
                      <a:pt x="123" y="13"/>
                      <a:pt x="123" y="13"/>
                    </a:cubicBezTo>
                    <a:cubicBezTo>
                      <a:pt x="121" y="14"/>
                      <a:pt x="121" y="14"/>
                      <a:pt x="121" y="14"/>
                    </a:cubicBezTo>
                    <a:cubicBezTo>
                      <a:pt x="121" y="16"/>
                      <a:pt x="121" y="16"/>
                      <a:pt x="121" y="16"/>
                    </a:cubicBezTo>
                    <a:cubicBezTo>
                      <a:pt x="120" y="23"/>
                      <a:pt x="120" y="23"/>
                      <a:pt x="120" y="23"/>
                    </a:cubicBezTo>
                    <a:cubicBezTo>
                      <a:pt x="120" y="24"/>
                      <a:pt x="120" y="24"/>
                      <a:pt x="120" y="24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26" y="39"/>
                      <a:pt x="126" y="39"/>
                      <a:pt x="126" y="39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52" y="32"/>
                      <a:pt x="152" y="32"/>
                      <a:pt x="152" y="32"/>
                    </a:cubicBezTo>
                    <a:cubicBezTo>
                      <a:pt x="148" y="38"/>
                      <a:pt x="143" y="46"/>
                      <a:pt x="135" y="50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8" y="68"/>
                      <a:pt x="138" y="68"/>
                      <a:pt x="138" y="68"/>
                    </a:cubicBezTo>
                    <a:cubicBezTo>
                      <a:pt x="126" y="69"/>
                      <a:pt x="98" y="74"/>
                      <a:pt x="90" y="83"/>
                    </a:cubicBezTo>
                    <a:cubicBezTo>
                      <a:pt x="33" y="142"/>
                      <a:pt x="33" y="142"/>
                      <a:pt x="33" y="142"/>
                    </a:cubicBezTo>
                    <a:cubicBezTo>
                      <a:pt x="33" y="142"/>
                      <a:pt x="28" y="146"/>
                      <a:pt x="23" y="146"/>
                    </a:cubicBezTo>
                    <a:cubicBezTo>
                      <a:pt x="20" y="146"/>
                      <a:pt x="17" y="144"/>
                      <a:pt x="15" y="142"/>
                    </a:cubicBezTo>
                    <a:cubicBezTo>
                      <a:pt x="7" y="134"/>
                      <a:pt x="13" y="125"/>
                      <a:pt x="15" y="123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0"/>
                      <a:pt x="80" y="70"/>
                      <a:pt x="80" y="70"/>
                    </a:cubicBezTo>
                    <a:cubicBezTo>
                      <a:pt x="93" y="58"/>
                      <a:pt x="98" y="36"/>
                      <a:pt x="102" y="23"/>
                    </a:cubicBezTo>
                    <a:cubicBezTo>
                      <a:pt x="103" y="19"/>
                      <a:pt x="103" y="17"/>
                      <a:pt x="104" y="15"/>
                    </a:cubicBezTo>
                    <a:cubicBezTo>
                      <a:pt x="106" y="7"/>
                      <a:pt x="107" y="7"/>
                      <a:pt x="121" y="4"/>
                    </a:cubicBezTo>
                    <a:cubicBezTo>
                      <a:pt x="122" y="4"/>
                      <a:pt x="122" y="4"/>
                      <a:pt x="122" y="4"/>
                    </a:cubicBezTo>
                    <a:cubicBezTo>
                      <a:pt x="124" y="4"/>
                      <a:pt x="125" y="4"/>
                      <a:pt x="127" y="4"/>
                    </a:cubicBezTo>
                    <a:cubicBezTo>
                      <a:pt x="127" y="4"/>
                      <a:pt x="127" y="4"/>
                      <a:pt x="127" y="4"/>
                    </a:cubicBezTo>
                    <a:moveTo>
                      <a:pt x="24" y="142"/>
                    </a:moveTo>
                    <a:cubicBezTo>
                      <a:pt x="27" y="142"/>
                      <a:pt x="30" y="141"/>
                      <a:pt x="31" y="139"/>
                    </a:cubicBezTo>
                    <a:cubicBezTo>
                      <a:pt x="35" y="135"/>
                      <a:pt x="35" y="129"/>
                      <a:pt x="31" y="125"/>
                    </a:cubicBezTo>
                    <a:cubicBezTo>
                      <a:pt x="30" y="123"/>
                      <a:pt x="27" y="122"/>
                      <a:pt x="24" y="122"/>
                    </a:cubicBezTo>
                    <a:cubicBezTo>
                      <a:pt x="22" y="122"/>
                      <a:pt x="19" y="123"/>
                      <a:pt x="17" y="125"/>
                    </a:cubicBezTo>
                    <a:cubicBezTo>
                      <a:pt x="13" y="129"/>
                      <a:pt x="13" y="135"/>
                      <a:pt x="17" y="139"/>
                    </a:cubicBezTo>
                    <a:cubicBezTo>
                      <a:pt x="19" y="141"/>
                      <a:pt x="22" y="142"/>
                      <a:pt x="24" y="142"/>
                    </a:cubicBezTo>
                    <a:moveTo>
                      <a:pt x="127" y="0"/>
                    </a:moveTo>
                    <a:cubicBezTo>
                      <a:pt x="125" y="0"/>
                      <a:pt x="123" y="0"/>
                      <a:pt x="121" y="0"/>
                    </a:cubicBezTo>
                    <a:cubicBezTo>
                      <a:pt x="106" y="3"/>
                      <a:pt x="103" y="4"/>
                      <a:pt x="100" y="13"/>
                    </a:cubicBezTo>
                    <a:cubicBezTo>
                      <a:pt x="97" y="23"/>
                      <a:pt x="93" y="53"/>
                      <a:pt x="77" y="68"/>
                    </a:cubicBezTo>
                    <a:cubicBezTo>
                      <a:pt x="12" y="120"/>
                      <a:pt x="12" y="120"/>
                      <a:pt x="12" y="120"/>
                    </a:cubicBezTo>
                    <a:cubicBezTo>
                      <a:pt x="12" y="120"/>
                      <a:pt x="0" y="133"/>
                      <a:pt x="12" y="145"/>
                    </a:cubicBezTo>
                    <a:cubicBezTo>
                      <a:pt x="16" y="148"/>
                      <a:pt x="20" y="150"/>
                      <a:pt x="23" y="150"/>
                    </a:cubicBezTo>
                    <a:cubicBezTo>
                      <a:pt x="30" y="150"/>
                      <a:pt x="36" y="145"/>
                      <a:pt x="36" y="145"/>
                    </a:cubicBezTo>
                    <a:cubicBezTo>
                      <a:pt x="93" y="85"/>
                      <a:pt x="93" y="85"/>
                      <a:pt x="93" y="85"/>
                    </a:cubicBezTo>
                    <a:cubicBezTo>
                      <a:pt x="102" y="76"/>
                      <a:pt x="144" y="71"/>
                      <a:pt x="144" y="71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53" y="46"/>
                      <a:pt x="159" y="25"/>
                      <a:pt x="159" y="25"/>
                    </a:cubicBezTo>
                    <a:cubicBezTo>
                      <a:pt x="130" y="37"/>
                      <a:pt x="130" y="37"/>
                      <a:pt x="130" y="37"/>
                    </a:cubicBezTo>
                    <a:cubicBezTo>
                      <a:pt x="124" y="24"/>
                      <a:pt x="124" y="24"/>
                      <a:pt x="124" y="24"/>
                    </a:cubicBezTo>
                    <a:cubicBezTo>
                      <a:pt x="125" y="17"/>
                      <a:pt x="125" y="17"/>
                      <a:pt x="125" y="17"/>
                    </a:cubicBezTo>
                    <a:cubicBezTo>
                      <a:pt x="149" y="6"/>
                      <a:pt x="149" y="6"/>
                      <a:pt x="149" y="6"/>
                    </a:cubicBezTo>
                    <a:cubicBezTo>
                      <a:pt x="149" y="6"/>
                      <a:pt x="139" y="0"/>
                      <a:pt x="127" y="0"/>
                    </a:cubicBezTo>
                    <a:close/>
                    <a:moveTo>
                      <a:pt x="24" y="138"/>
                    </a:moveTo>
                    <a:cubicBezTo>
                      <a:pt x="23" y="138"/>
                      <a:pt x="21" y="138"/>
                      <a:pt x="20" y="136"/>
                    </a:cubicBezTo>
                    <a:cubicBezTo>
                      <a:pt x="17" y="134"/>
                      <a:pt x="17" y="130"/>
                      <a:pt x="20" y="128"/>
                    </a:cubicBezTo>
                    <a:cubicBezTo>
                      <a:pt x="21" y="127"/>
                      <a:pt x="23" y="126"/>
                      <a:pt x="24" y="126"/>
                    </a:cubicBezTo>
                    <a:cubicBezTo>
                      <a:pt x="26" y="126"/>
                      <a:pt x="27" y="127"/>
                      <a:pt x="29" y="128"/>
                    </a:cubicBezTo>
                    <a:cubicBezTo>
                      <a:pt x="31" y="130"/>
                      <a:pt x="31" y="134"/>
                      <a:pt x="29" y="136"/>
                    </a:cubicBezTo>
                    <a:cubicBezTo>
                      <a:pt x="27" y="138"/>
                      <a:pt x="26" y="138"/>
                      <a:pt x="24" y="13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46132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Learning is also Fun!</a:t>
            </a:r>
            <a:endParaRPr lang="en-IN" sz="4000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5221367-599F-F73C-4BD3-0C82C7201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3676" y="2795529"/>
            <a:ext cx="1213691" cy="121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622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28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is also Fun!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8</a:t>
            </a:fld>
            <a:endParaRPr lang="en-IN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9B39B69-AA92-EAA5-718F-24380CF246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19674" y="124674"/>
            <a:ext cx="1213691" cy="121369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CC1343B-2E39-FEFF-8FF6-46822F18B432}"/>
              </a:ext>
            </a:extLst>
          </p:cNvPr>
          <p:cNvSpPr txBox="1">
            <a:spLocks/>
          </p:cNvSpPr>
          <p:nvPr/>
        </p:nvSpPr>
        <p:spPr>
          <a:xfrm>
            <a:off x="442195" y="1963818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Case study was fun. Implementing what we learned was fun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A873A1A-E63F-91AE-7D43-ED0F86870147}"/>
              </a:ext>
            </a:extLst>
          </p:cNvPr>
          <p:cNvSpPr txBox="1">
            <a:spLocks/>
          </p:cNvSpPr>
          <p:nvPr/>
        </p:nvSpPr>
        <p:spPr>
          <a:xfrm>
            <a:off x="6400800" y="1963818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1580071-5413-CF62-BE96-BE3AA92EE92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09967" y="2110265"/>
            <a:ext cx="5132371" cy="3770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8387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4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Summar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9</a:t>
            </a:fld>
            <a:endParaRPr lang="en-IN" dirty="0"/>
          </a:p>
        </p:txBody>
      </p:sp>
      <p:pic>
        <p:nvPicPr>
          <p:cNvPr id="5" name="Graphic 4" descr="Future with solid fill">
            <a:extLst>
              <a:ext uri="{FF2B5EF4-FFF2-40B4-BE49-F238E27FC236}">
                <a16:creationId xmlns:a16="http://schemas.microsoft.com/office/drawing/2014/main" id="{4C05FBB4-1D96-ED51-AB17-618E4D4052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24305" y="129305"/>
            <a:ext cx="1204430" cy="1204430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C2F88D2-81D4-FAD4-568E-A3F495B06411}"/>
              </a:ext>
            </a:extLst>
          </p:cNvPr>
          <p:cNvSpPr txBox="1">
            <a:spLocks/>
          </p:cNvSpPr>
          <p:nvPr/>
        </p:nvSpPr>
        <p:spPr>
          <a:xfrm>
            <a:off x="812799" y="1624200"/>
            <a:ext cx="9804401" cy="4010139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000" dirty="0"/>
              <a:t>We learnt </a:t>
            </a:r>
            <a:r>
              <a:rPr lang="en-US" sz="2000" dirty="0" err="1"/>
              <a:t>devops</a:t>
            </a:r>
            <a:r>
              <a:rPr lang="en-US" sz="2000" dirty="0"/>
              <a:t>, files, cloud and the </a:t>
            </a:r>
            <a:r>
              <a:rPr lang="en-US" sz="2000" dirty="0" err="1"/>
              <a:t>dbms</a:t>
            </a:r>
            <a:r>
              <a:rPr lang="en-US" sz="2000" dirty="0"/>
              <a:t> concepts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8658501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442195" y="1831738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GB" sz="4000" dirty="0"/>
              <a:t>Drive with ambition, deliver with dedication, and uphold quality.</a:t>
            </a:r>
            <a:endParaRPr lang="en-US" sz="400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400800" y="1831738"/>
            <a:ext cx="53507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16" name="Picture 15" descr="A cartoon of a person sitting at a desk with a computer&#10;&#10;Description automatically generated">
            <a:extLst>
              <a:ext uri="{FF2B5EF4-FFF2-40B4-BE49-F238E27FC236}">
                <a16:creationId xmlns:a16="http://schemas.microsoft.com/office/drawing/2014/main" id="{E2E22F5A-C351-F5B2-B479-AFCF4441C32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tretch>
            <a:fillRect/>
          </a:stretch>
        </p:blipFill>
        <p:spPr>
          <a:xfrm>
            <a:off x="6705600" y="2047240"/>
            <a:ext cx="4632960" cy="3510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97127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2000" dirty="0"/>
          </a:p>
          <a:p>
            <a:r>
              <a:rPr lang="en-GB" sz="2000" dirty="0"/>
              <a:t>DevOps Principles: Understanding continuous integration, continuous delivery, and continuous deployment.</a:t>
            </a:r>
          </a:p>
          <a:p>
            <a:r>
              <a:rPr lang="en-GB" sz="2000" dirty="0"/>
              <a:t>DevOps promotes collaboration between development and operations for efficient and reliable software delivery.</a:t>
            </a:r>
          </a:p>
          <a:p>
            <a:r>
              <a:rPr lang="en-GB" sz="2000" dirty="0"/>
              <a:t>Automating updates to energy monitoring systems using Azure Pipelines ensures they are always up-to-date.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`</a:t>
            </a:r>
          </a:p>
        </p:txBody>
      </p:sp>
      <p:pic>
        <p:nvPicPr>
          <p:cNvPr id="1026" name="Picture 2" descr="Image result for devops in the energy sector">
            <a:extLst>
              <a:ext uri="{FF2B5EF4-FFF2-40B4-BE49-F238E27FC236}">
                <a16:creationId xmlns:a16="http://schemas.microsoft.com/office/drawing/2014/main" id="{C2C8EB47-D9DC-20C0-687D-50461E9341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1577" y="2043342"/>
            <a:ext cx="4818263" cy="3644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r>
              <a:rPr lang="en-GB" sz="2000" b="1" dirty="0"/>
              <a:t>DBMS Concepts: </a:t>
            </a:r>
            <a:r>
              <a:rPr lang="en-GB" sz="2000" dirty="0"/>
              <a:t>Understanding the basics of database management systems, including data models, schemas, and SQL.</a:t>
            </a:r>
          </a:p>
          <a:p>
            <a:r>
              <a:rPr lang="en-GB" sz="2000" dirty="0"/>
              <a:t>A DBMS like PostgreSQL allows for efficient data storage, retrieval, and management, ensuring data integrity and security.</a:t>
            </a:r>
          </a:p>
          <a:p>
            <a:r>
              <a:rPr lang="en-GB" sz="2000" dirty="0"/>
              <a:t>Using PostgreSQL to manage and </a:t>
            </a:r>
            <a:r>
              <a:rPr lang="en-GB" sz="2000" dirty="0" err="1"/>
              <a:t>analyze</a:t>
            </a:r>
            <a:r>
              <a:rPr lang="en-GB" sz="2000" dirty="0"/>
              <a:t> large datasets from energy consumption sensors can help optimize energy usage and reduce costs.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 descr="A cloud computing and a cloud computing system&#10;&#10;Description automatically generated with medium confidence">
            <a:extLst>
              <a:ext uri="{FF2B5EF4-FFF2-40B4-BE49-F238E27FC236}">
                <a16:creationId xmlns:a16="http://schemas.microsoft.com/office/drawing/2014/main" id="{6DB837CF-928C-76B8-E12F-A54A55E77F9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6505785" y="2091380"/>
            <a:ext cx="5140734" cy="346474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B49AB19-4B16-1E89-33E5-88D476A91AB2}"/>
              </a:ext>
            </a:extLst>
          </p:cNvPr>
          <p:cNvSpPr txBox="1"/>
          <p:nvPr/>
        </p:nvSpPr>
        <p:spPr>
          <a:xfrm>
            <a:off x="1869440" y="5294816"/>
            <a:ext cx="47345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>
                <a:hlinkClick r:id="rId8" tooltip="https://www.suportinf.net/index.php"/>
              </a:rPr>
              <a:t>This Photo</a:t>
            </a:r>
            <a:r>
              <a:rPr lang="en-GB" sz="900"/>
              <a:t> by Unknown Author is licensed under </a:t>
            </a:r>
            <a:r>
              <a:rPr lang="en-GB" sz="900">
                <a:hlinkClick r:id="rId9" tooltip="https://creativecommons.org/licenses/by/3.0/"/>
              </a:rPr>
              <a:t>CC BY</a:t>
            </a:r>
            <a:endParaRPr lang="en-GB" sz="900"/>
          </a:p>
        </p:txBody>
      </p:sp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r>
              <a:rPr lang="en-GB" sz="2000" dirty="0"/>
              <a:t>Cloud Basics: Understanding the core concepts of cloud computing, including IaaS, PaaS, and SaaS.</a:t>
            </a:r>
          </a:p>
          <a:p>
            <a:r>
              <a:rPr lang="en-GB" sz="2000" dirty="0"/>
              <a:t>Cloud computing provides scalable and flexible resources, allowing for efficient management and deployment of virtual machines (VMs).</a:t>
            </a:r>
          </a:p>
          <a:p>
            <a:r>
              <a:rPr lang="en-GB" sz="2000" dirty="0"/>
              <a:t>Creating VMs in the cloud can support energy management applications, enabling scalable data processing and real-time analytics.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 descr="A diagram of computer servers&#10;&#10;Description automatically generated">
            <a:extLst>
              <a:ext uri="{FF2B5EF4-FFF2-40B4-BE49-F238E27FC236}">
                <a16:creationId xmlns:a16="http://schemas.microsoft.com/office/drawing/2014/main" id="{AD2CBE56-BD20-44A2-5CA2-F7AD0D31154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6745184" y="2189587"/>
            <a:ext cx="4692502" cy="3142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Relevance of learnings for my organization</a:t>
            </a:r>
            <a:endParaRPr lang="en-IN" sz="4000" dirty="0"/>
          </a:p>
        </p:txBody>
      </p:sp>
      <p:pic>
        <p:nvPicPr>
          <p:cNvPr id="4" name="Graphic 3" descr="User network outline">
            <a:extLst>
              <a:ext uri="{FF2B5EF4-FFF2-40B4-BE49-F238E27FC236}">
                <a16:creationId xmlns:a16="http://schemas.microsoft.com/office/drawing/2014/main" id="{7164DAAD-2874-8D6F-8FCF-5053DEE24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94692" y="28386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49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GB" sz="2000" dirty="0"/>
          </a:p>
          <a:p>
            <a:pPr marL="0" indent="0">
              <a:buNone/>
            </a:pPr>
            <a:r>
              <a:rPr lang="en-GB" sz="2000" dirty="0"/>
              <a:t>DevOps Principles: Shell effectively implements continuous integration, continuous delivery, and continuous deployment to streamline their software development processes.</a:t>
            </a:r>
          </a:p>
          <a:p>
            <a:pPr marL="0" indent="0">
              <a:buNone/>
            </a:pPr>
            <a:r>
              <a:rPr lang="en-GB" sz="2000" dirty="0"/>
              <a:t>Collaboration: By promoting collaboration between development and operations teams, Shell ensures efficient and reliable software delivery.</a:t>
            </a:r>
          </a:p>
          <a:p>
            <a:pPr marL="0" indent="0">
              <a:buNone/>
            </a:pPr>
            <a:r>
              <a:rPr lang="en-GB" sz="2000" dirty="0"/>
              <a:t>Automation: Shell uses Azure Pipelines to automate updates to their energy monitoring systems, keeping them consistently up-to-date.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13" name="Picture 12" descr="A computer monitor and keyboard&#10;&#10;Description automatically generated">
            <a:extLst>
              <a:ext uri="{FF2B5EF4-FFF2-40B4-BE49-F238E27FC236}">
                <a16:creationId xmlns:a16="http://schemas.microsoft.com/office/drawing/2014/main" id="{56FEE309-5982-FAAD-A476-CC74359B11B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6532880" y="1972194"/>
            <a:ext cx="5069839" cy="3853838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EEEA6D4-6DF5-78F4-B120-26FD9DF92C89}"/>
              </a:ext>
            </a:extLst>
          </p:cNvPr>
          <p:cNvSpPr txBox="1"/>
          <p:nvPr/>
        </p:nvSpPr>
        <p:spPr>
          <a:xfrm>
            <a:off x="3850641" y="8060078"/>
            <a:ext cx="6858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>
                <a:hlinkClick r:id="rId8" tooltip="https://ct101.commons.gc.cuny.edu/final-blogpost-2/"/>
              </a:rPr>
              <a:t>This Photo</a:t>
            </a:r>
            <a:r>
              <a:rPr lang="en-GB" sz="900"/>
              <a:t> by Unknown Author is licensed under </a:t>
            </a:r>
            <a:r>
              <a:rPr lang="en-GB" sz="900">
                <a:hlinkClick r:id="rId9" tooltip="https://creativecommons.org/licenses/by-nc-sa/3.0/"/>
              </a:rPr>
              <a:t>CC BY-SA-NC</a:t>
            </a:r>
            <a:endParaRPr lang="en-GB" sz="900"/>
          </a:p>
        </p:txBody>
      </p:sp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299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GB" sz="2000" dirty="0"/>
          </a:p>
          <a:p>
            <a:pPr marL="0" indent="0">
              <a:buNone/>
            </a:pPr>
            <a:r>
              <a:rPr lang="en-GB" sz="2000" dirty="0"/>
              <a:t>DBMS Concepts: Shell effectively understands the basics of database management systems, including data models, schemas, and SQL.</a:t>
            </a:r>
          </a:p>
          <a:p>
            <a:pPr marL="0" indent="0">
              <a:buNone/>
            </a:pPr>
            <a:r>
              <a:rPr lang="en-GB" sz="2000" dirty="0"/>
              <a:t>Efficiency and Security: By using a DBMS like PostgreSQL, Shell ensures efficient data storage, retrieval, and management, maintaining data integrity and security.</a:t>
            </a:r>
          </a:p>
          <a:p>
            <a:pPr marL="0" indent="0">
              <a:buNone/>
            </a:pPr>
            <a:r>
              <a:rPr lang="en-GB" sz="2000" dirty="0"/>
              <a:t>Optimization: Shell leverages PostgreSQL to manage and </a:t>
            </a:r>
            <a:r>
              <a:rPr lang="en-GB" sz="2000" dirty="0" err="1"/>
              <a:t>analyze</a:t>
            </a:r>
            <a:r>
              <a:rPr lang="en-GB" sz="2000" dirty="0"/>
              <a:t> large datasets from energy consumption sensors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6" name="Picture 5" descr="A machine with conveyor belt&#10;&#10;Description automatically generated">
            <a:extLst>
              <a:ext uri="{FF2B5EF4-FFF2-40B4-BE49-F238E27FC236}">
                <a16:creationId xmlns:a16="http://schemas.microsoft.com/office/drawing/2014/main" id="{5A4BDFA7-8A44-0F9C-FDE4-5DF708BFB58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6532881" y="1970594"/>
            <a:ext cx="5069840" cy="374948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1A849C8-DBDA-1C8D-66E9-8BFEBAA16997}"/>
              </a:ext>
            </a:extLst>
          </p:cNvPr>
          <p:cNvSpPr txBox="1"/>
          <p:nvPr/>
        </p:nvSpPr>
        <p:spPr>
          <a:xfrm>
            <a:off x="381000" y="6429375"/>
            <a:ext cx="601979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>
                <a:hlinkClick r:id="rId8" tooltip="https://www.reflectionsofthevoid.com/2020/04/links-of-day-14042020-time-series.html"/>
              </a:rPr>
              <a:t>This Photo</a:t>
            </a:r>
            <a:r>
              <a:rPr lang="en-GB" sz="900"/>
              <a:t> by Unknown Author is licensed under </a:t>
            </a:r>
            <a:r>
              <a:rPr lang="en-GB" sz="900">
                <a:hlinkClick r:id="rId9" tooltip="https://creativecommons.org/licenses/by-sa/3.0/"/>
              </a:rPr>
              <a:t>CC BY-SA</a:t>
            </a:r>
            <a:endParaRPr lang="en-GB" sz="900"/>
          </a:p>
        </p:txBody>
      </p:sp>
    </p:spTree>
    <p:extLst>
      <p:ext uri="{BB962C8B-B14F-4D97-AF65-F5344CB8AC3E}">
        <p14:creationId xmlns:p14="http://schemas.microsoft.com/office/powerpoint/2010/main" val="31798056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099</TotalTime>
  <Words>641</Words>
  <Application>Microsoft Office PowerPoint</Application>
  <PresentationFormat>Widescreen</PresentationFormat>
  <Paragraphs>81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4" baseType="lpstr">
      <vt:lpstr>Arial</vt:lpstr>
      <vt:lpstr>Calibri</vt:lpstr>
      <vt:lpstr>Office Theme</vt:lpstr>
      <vt:lpstr>think-cell Slide</vt:lpstr>
      <vt:lpstr>PowerPoint Presentation</vt:lpstr>
      <vt:lpstr>About Me</vt:lpstr>
      <vt:lpstr>PowerPoint Presentation</vt:lpstr>
      <vt:lpstr>Learning 1 | My takeaways</vt:lpstr>
      <vt:lpstr>Learning 2 | My takeaways</vt:lpstr>
      <vt:lpstr>Learning 3 | My takeaways</vt:lpstr>
      <vt:lpstr>PowerPoint Presentation</vt:lpstr>
      <vt:lpstr>Learning 1 | Relevance for Shell</vt:lpstr>
      <vt:lpstr>Learning 2 | Relevance for Shell</vt:lpstr>
      <vt:lpstr>Learning 3 | Relevance for Shell</vt:lpstr>
      <vt:lpstr>PowerPoint Presentation</vt:lpstr>
      <vt:lpstr>Challenge faced while implementing Learning 1</vt:lpstr>
      <vt:lpstr>Challenge faced while implementing Learning 2</vt:lpstr>
      <vt:lpstr>Challenge faced while implementing Learning 3</vt:lpstr>
      <vt:lpstr>PowerPoint Presentation</vt:lpstr>
      <vt:lpstr>My Action Plan for this Week</vt:lpstr>
      <vt:lpstr>PowerPoint Presentation</vt:lpstr>
      <vt:lpstr>Learning is also Fun!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Sud, Sumona SBOBNG-PTIY/DSB</cp:lastModifiedBy>
  <cp:revision>499</cp:revision>
  <dcterms:created xsi:type="dcterms:W3CDTF">2022-01-18T12:35:56Z</dcterms:created>
  <dcterms:modified xsi:type="dcterms:W3CDTF">2024-09-06T10:02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